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charts/chart1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4"/>
  </p:sldMasterIdLst>
  <p:notesMasterIdLst>
    <p:notesMasterId r:id="rId18"/>
  </p:notesMasterIdLst>
  <p:sldIdLst>
    <p:sldId id="2147483435" r:id="rId5"/>
    <p:sldId id="2147483442" r:id="rId6"/>
    <p:sldId id="2147483459" r:id="rId7"/>
    <p:sldId id="2147483449" r:id="rId8"/>
    <p:sldId id="2147483600" r:id="rId9"/>
    <p:sldId id="2147483606" r:id="rId10"/>
    <p:sldId id="2147483611" r:id="rId11"/>
    <p:sldId id="2147483610" r:id="rId12"/>
    <p:sldId id="2147483599" r:id="rId13"/>
    <p:sldId id="2147483604" r:id="rId14"/>
    <p:sldId id="2147483608" r:id="rId15"/>
    <p:sldId id="260" r:id="rId16"/>
    <p:sldId id="2147483434" r:id="rId17"/>
  </p:sldIdLst>
  <p:sldSz cx="12192000" cy="6858000"/>
  <p:notesSz cx="6858000" cy="9144000"/>
  <p:embeddedFontLst>
    <p:embeddedFont>
      <p:font typeface="AP Type Pro Text" panose="020B0604020202020204" charset="0"/>
      <p:regular r:id="rId19"/>
      <p:bold r:id="rId20"/>
      <p:italic r:id="rId21"/>
      <p:boldItalic r:id="rId22"/>
    </p:embeddedFont>
    <p:embeddedFont>
      <p:font typeface="AP Type Text" panose="020B0503030202060203" pitchFamily="34" charset="0"/>
      <p:regular r:id="rId23"/>
      <p:bold r:id="rId24"/>
      <p:italic r:id="rId25"/>
      <p:boldItalic r:id="rId26"/>
    </p:embeddedFont>
    <p:embeddedFont>
      <p:font typeface="Avenir Next LT Pro" panose="020B0504020202020204" pitchFamily="34" charset="0"/>
      <p:regular r:id="rId27"/>
      <p:bold r:id="rId28"/>
      <p:italic r:id="rId29"/>
      <p:boldItalic r:id="rId30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8A3471A-F6AE-3741-7BCC-D93B63F79BFC}" name="MACLEOD, Stewart" initials="SM" userId="S::stewart.macleod2@auspost.com.au::2b3ac29f-31ed-4a50-b93c-3c0ef0ef94e1" providerId="AD"/>
  <p188:author id="{95846C2A-5BBB-EAE5-D766-DDE2AF902556}" name="Beames, Jemma" initials="JB" userId="S::Jemma.Beames2@auspost.com.au::cf3f72c8-e5b9-4b66-9117-ca31d94af77c" providerId="AD"/>
  <p188:author id="{7366698A-F126-83A2-2C9D-1EDBD23FF932}" name="FITTER, Leshea" initials="" userId="S::leshea.fitter@auspost.com.au::236de359-4cc2-4185-8980-ef7a9f56f53b" providerId="AD"/>
  <p188:author id="{E0B2128B-3D0C-F065-5101-42E9F2A3588A}" name="Sta Maria, Stephanie" initials="" userId="S::Stephanie.StaMaria@auspost.com.au::1863e0d8-16d9-4d1c-8832-116e7545d5d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B5D7"/>
    <a:srgbClr val="DC1928"/>
    <a:srgbClr val="3A8DDE"/>
    <a:srgbClr val="FFC73D"/>
    <a:srgbClr val="EDEED4"/>
    <a:srgbClr val="97C6E2"/>
    <a:srgbClr val="B8D8EB"/>
    <a:srgbClr val="1D428A"/>
    <a:srgbClr val="001E3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C94C3B-847A-4C09-8DAB-6F053271D5DA}" v="2" dt="2025-04-08T05:56:31.977"/>
    <p1510:client id="{2CB7EDD7-CA15-4003-9072-60503D692417}" v="63" dt="2025-04-08T22:35:52.797"/>
    <p1510:client id="{427AF8AD-655B-8E33-7CB6-8DA77B2AE553}" v="279" dt="2025-04-09T01:08:47.635"/>
    <p1510:client id="{5F5BC42A-567F-D1E4-6465-1086862EEDDE}" v="2" dt="2025-04-07T22:42:18.166"/>
    <p1510:client id="{D20AFFCC-A15C-6A83-B23F-0E6CDAC88634}" v="22" dt="2025-04-08T23:35:37.66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8.fntdata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7.fntdata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6.fntdata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36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font" Target="fonts/font1.fntdata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font" Target="fonts/font12.fntdata"/><Relationship Id="rId35" Type="http://schemas.microsoft.com/office/2015/10/relationships/revisionInfo" Target="revisionInfo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_7FFFFF32_42D3E175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FFF39_6313A765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FFF39_6313A765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FFF39_6313A765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package" Target="../embeddings/Microsoft_Excel_Worksheet_7FFFFFD0_30B2CC8F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package" Target="../embeddings/Microsoft_Excel_Worksheet_7FFFFFCF_DA2F6D2.xlsx"/><Relationship Id="rId2" Type="http://schemas.microsoft.com/office/2011/relationships/chartColorStyle" Target="colors13.xml"/><Relationship Id="rId1" Type="http://schemas.microsoft.com/office/2011/relationships/chartStyle" Target="style13.xml"/><Relationship Id="rId6" Type="http://schemas.openxmlformats.org/officeDocument/2006/relationships/image" Target="../media/image46.svg"/><Relationship Id="rId5" Type="http://schemas.openxmlformats.org/officeDocument/2006/relationships/image" Target="../media/image45.png"/><Relationship Id="rId4" Type="http://schemas.openxmlformats.org/officeDocument/2006/relationships/image" Target="../media/image44.svg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_7FFFFF32_42D3E175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package" Target="../embeddings/Microsoft_Excel_Worksheet_7FFFFF39_6313A765.xlsx"/><Relationship Id="rId2" Type="http://schemas.microsoft.com/office/2011/relationships/chartColorStyle" Target="colors2.xml"/><Relationship Id="rId1" Type="http://schemas.microsoft.com/office/2011/relationships/chartStyle" Target="style2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33.svg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FFF39_6313A765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FFF39_6313A765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FFF39_6313A765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FFF39_6313A765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FFF39_6313A765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FFF39_6313A765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Ex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svg"/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12" Type="http://schemas.openxmlformats.org/officeDocument/2006/relationships/image" Target="../media/image27.png"/><Relationship Id="rId17" Type="http://schemas.microsoft.com/office/2011/relationships/chartColorStyle" Target="colors1.xml"/><Relationship Id="rId2" Type="http://schemas.openxmlformats.org/officeDocument/2006/relationships/image" Target="../media/image17.png"/><Relationship Id="rId16" Type="http://schemas.microsoft.com/office/2011/relationships/chartStyle" Target="style1.xml"/><Relationship Id="rId1" Type="http://schemas.openxmlformats.org/officeDocument/2006/relationships/package" Target="../embeddings/Microsoft_Excel_Worksheet_7FFFFF43_F0EBC8A8.xlsx"/><Relationship Id="rId6" Type="http://schemas.openxmlformats.org/officeDocument/2006/relationships/image" Target="../media/image21.png"/><Relationship Id="rId11" Type="http://schemas.openxmlformats.org/officeDocument/2006/relationships/image" Target="../media/image26.svg"/><Relationship Id="rId5" Type="http://schemas.openxmlformats.org/officeDocument/2006/relationships/image" Target="../media/image20.svg"/><Relationship Id="rId15" Type="http://schemas.openxmlformats.org/officeDocument/2006/relationships/image" Target="../media/image30.sv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svg"/><Relationship Id="rId14" Type="http://schemas.openxmlformats.org/officeDocument/2006/relationships/image" Target="../media/image29.png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501388888888886E-2"/>
          <c:y val="9.2072916666666671E-2"/>
          <c:w val="0.85158194444444446"/>
          <c:h val="0.8687715277777778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gradFill flip="none" rotWithShape="1">
                <a:gsLst>
                  <a:gs pos="34000">
                    <a:srgbClr val="FEDCEC"/>
                  </a:gs>
                  <a:gs pos="81000">
                    <a:srgbClr val="FF1387"/>
                  </a:gs>
                </a:gsLst>
                <a:lin ang="7200000" scaled="0"/>
                <a:tileRect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B6-437C-8F7B-CDD148B427EC}"/>
              </c:ext>
            </c:extLst>
          </c:dPt>
          <c:dPt>
            <c:idx val="1"/>
            <c:bubble3D val="0"/>
            <c:spPr>
              <a:pattFill prst="ltDnDiag">
                <a:fgClr>
                  <a:schemeClr val="accent3"/>
                </a:fgClr>
                <a:bgClr>
                  <a:schemeClr val="bg1"/>
                </a:bgClr>
              </a:patt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B6-437C-8F7B-CDD148B427EC}"/>
              </c:ext>
            </c:extLst>
          </c:dPt>
          <c:dLbls>
            <c:dLbl>
              <c:idx val="0"/>
              <c:layout>
                <c:manualLayout>
                  <c:x val="-0.16164790212945196"/>
                  <c:y val="-0.12743563810353811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800" b="1"/>
                    </a:pPr>
                    <a:fld id="{5FABD3D7-F15C-4992-94CF-39BDDF8AF1C1}" type="VALUE">
                      <a:rPr lang="en-US" sz="1800" b="1" kern="1200" spc="-50">
                        <a:gradFill flip="none" rotWithShape="1">
                          <a:gsLst>
                            <a:gs pos="0">
                              <a:schemeClr val="accent3"/>
                            </a:gs>
                            <a:gs pos="71600">
                              <a:srgbClr val="E31842"/>
                            </a:gs>
                            <a:gs pos="100000">
                              <a:schemeClr val="accent2"/>
                            </a:gs>
                          </a:gsLst>
                          <a:lin ang="0" scaled="1"/>
                          <a:tileRect/>
                        </a:gradFill>
                        <a:latin typeface="+mj-lt"/>
                        <a:ea typeface="+mn-ea"/>
                        <a:cs typeface="+mn-cs"/>
                      </a:rPr>
                      <a:pPr>
                        <a:defRPr sz="1800" b="1"/>
                      </a:pPr>
                      <a:t>[VALUE]</a:t>
                    </a:fld>
                    <a:endParaRPr lang="en-GB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61759713926641868"/>
                      <c:h val="0.3116363857797517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88B6-437C-8F7B-CDD148B427E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B6-437C-8F7B-CDD148B427E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56000000000000005</c:v>
                </c:pt>
                <c:pt idx="1">
                  <c:v>0.439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8B6-437C-8F7B-CDD148B427E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68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501388888888886E-2"/>
          <c:y val="9.2072916666666671E-2"/>
          <c:w val="0.85158194444444446"/>
          <c:h val="0.8687715277777778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gradFill flip="none" rotWithShape="1">
                <a:gsLst>
                  <a:gs pos="2000">
                    <a:schemeClr val="accent3"/>
                  </a:gs>
                  <a:gs pos="100000">
                    <a:srgbClr val="FEDCEC"/>
                  </a:gs>
                </a:gsLst>
                <a:lin ang="13500000" scaled="1"/>
                <a:tileRect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82E-4D15-8252-354140AF96BE}"/>
              </c:ext>
            </c:extLst>
          </c:dPt>
          <c:dPt>
            <c:idx val="1"/>
            <c:bubble3D val="0"/>
            <c:spPr>
              <a:pattFill prst="ltDnDiag">
                <a:fgClr>
                  <a:schemeClr val="accent3"/>
                </a:fgClr>
                <a:bgClr>
                  <a:srgbClr val="FFFDFE"/>
                </a:bgClr>
              </a:patt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82E-4D15-8252-354140AF96BE}"/>
              </c:ext>
            </c:extLst>
          </c:dPt>
          <c:dLbls>
            <c:dLbl>
              <c:idx val="0"/>
              <c:layout>
                <c:manualLayout>
                  <c:x val="-3.0733242676128664E-2"/>
                  <c:y val="0.33595984539016288"/>
                </c:manualLayout>
              </c:layout>
              <c:tx>
                <c:rich>
                  <a:bodyPr rot="0" spcFirstLastPara="1" vertOverflow="ellipsis" vert="horz" wrap="none" lIns="0" tIns="0" rIns="0" bIns="0" anchor="ctr" anchorCtr="0">
                    <a:noAutofit/>
                  </a:bodyPr>
                  <a:lstStyle/>
                  <a:p>
                    <a:pPr algn="ctr">
                      <a:defRPr lang="en-US" sz="1600" b="1" i="0" u="none" strike="noStrike" kern="1200" spc="-50" baseline="0">
                        <a:gradFill flip="none" rotWithShape="1">
                          <a:gsLst>
                            <a:gs pos="0">
                              <a:srgbClr val="F51482"/>
                            </a:gs>
                            <a:gs pos="71600">
                              <a:srgbClr val="E31842"/>
                            </a:gs>
                            <a:gs pos="100000">
                              <a:srgbClr val="DC1928"/>
                            </a:gs>
                          </a:gsLst>
                          <a:lin ang="0" scaled="1"/>
                          <a:tileRect/>
                        </a:gradFill>
                        <a:latin typeface="+mj-lt"/>
                        <a:ea typeface="+mn-ea"/>
                        <a:cs typeface="+mn-cs"/>
                      </a:defRPr>
                    </a:pPr>
                    <a:fld id="{0B258150-B496-4D31-A569-24E5D5EB81B1}" type="VALUE">
                      <a:rPr lang="en-US" smtClean="0"/>
                      <a:pPr algn="ctr">
                        <a:defRPr lang="en-US" sz="1600" b="1" spc="-50">
                          <a:gradFill flip="none" rotWithShape="1">
                            <a:gsLst>
                              <a:gs pos="0">
                                <a:srgbClr val="F51482"/>
                              </a:gs>
                              <a:gs pos="71600">
                                <a:srgbClr val="E31842"/>
                              </a:gs>
                              <a:gs pos="100000">
                                <a:srgbClr val="DC1928"/>
                              </a:gs>
                            </a:gsLst>
                            <a:lin ang="0" scaled="1"/>
                            <a:tileRect/>
                          </a:gradFill>
                          <a:latin typeface="+mj-lt"/>
                        </a:defRPr>
                      </a:pPr>
                      <a:t>[VALUE]</a:t>
                    </a:fld>
                    <a:r>
                      <a:rPr lang="en-US"/>
                      <a:t>b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0" tIns="0" rIns="0" bIns="0" anchor="ctr" anchorCtr="0">
                  <a:noAutofit/>
                </a:bodyPr>
                <a:lstStyle/>
                <a:p>
                  <a:pPr algn="ctr">
                    <a:defRPr lang="en-US" sz="1600" b="1" i="0" u="none" strike="noStrike" kern="1200" spc="-50" baseline="0">
                      <a:gradFill flip="none" rotWithShape="1">
                        <a:gsLst>
                          <a:gs pos="0">
                            <a:srgbClr val="F51482"/>
                          </a:gs>
                          <a:gs pos="71600">
                            <a:srgbClr val="E31842"/>
                          </a:gs>
                          <a:gs pos="100000">
                            <a:srgbClr val="DC1928"/>
                          </a:gs>
                        </a:gsLst>
                        <a:lin ang="0" scaled="1"/>
                        <a:tileRect/>
                      </a:gra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934950184333191"/>
                      <c:h val="0.2024288992354346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82E-4D15-8252-354140AF96BE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82E-4D15-8252-354140AF96B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spc="-50" baseline="0">
                    <a:gradFill flip="none" rotWithShape="1">
                      <a:gsLst>
                        <a:gs pos="0">
                          <a:srgbClr val="F51482"/>
                        </a:gs>
                        <a:gs pos="71600">
                          <a:srgbClr val="E31842"/>
                        </a:gs>
                        <a:gs pos="100000">
                          <a:srgbClr val="DC1928"/>
                        </a:gs>
                      </a:gsLst>
                      <a:lin ang="0" scaled="1"/>
                      <a:tileRect/>
                    </a:gra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[$$-C09]#,##0.0</c:formatCode>
                <c:ptCount val="2"/>
                <c:pt idx="0">
                  <c:v>3</c:v>
                </c:pt>
                <c:pt idx="1">
                  <c:v>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82E-4D15-8252-354140AF96B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68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501388888888886E-2"/>
          <c:y val="9.2072916666666671E-2"/>
          <c:w val="0.85158194444444446"/>
          <c:h val="0.8687715277777778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gradFill flip="none" rotWithShape="1">
                <a:gsLst>
                  <a:gs pos="2000">
                    <a:schemeClr val="accent3"/>
                  </a:gs>
                  <a:gs pos="100000">
                    <a:srgbClr val="FEDCEC"/>
                  </a:gs>
                </a:gsLst>
                <a:lin ang="13500000" scaled="1"/>
                <a:tileRect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82E-4D15-8252-354140AF96BE}"/>
              </c:ext>
            </c:extLst>
          </c:dPt>
          <c:dPt>
            <c:idx val="1"/>
            <c:bubble3D val="0"/>
            <c:spPr>
              <a:pattFill prst="ltDnDiag">
                <a:fgClr>
                  <a:schemeClr val="accent3"/>
                </a:fgClr>
                <a:bgClr>
                  <a:srgbClr val="FFFDFE"/>
                </a:bgClr>
              </a:patt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82E-4D15-8252-354140AF96BE}"/>
              </c:ext>
            </c:extLst>
          </c:dPt>
          <c:dLbls>
            <c:dLbl>
              <c:idx val="0"/>
              <c:layout>
                <c:manualLayout>
                  <c:x val="-4.2170459559982373E-2"/>
                  <c:y val="0.33595984539016294"/>
                </c:manualLayout>
              </c:layout>
              <c:tx>
                <c:rich>
                  <a:bodyPr rot="0" spcFirstLastPara="1" vertOverflow="ellipsis" vert="horz" wrap="none" lIns="0" tIns="0" rIns="0" bIns="0" anchor="ctr" anchorCtr="0">
                    <a:noAutofit/>
                  </a:bodyPr>
                  <a:lstStyle/>
                  <a:p>
                    <a:pPr algn="ctr">
                      <a:defRPr lang="en-US" sz="1600" b="1" i="0" u="none" strike="noStrike" kern="1200" spc="-50" baseline="0">
                        <a:gradFill flip="none" rotWithShape="1">
                          <a:gsLst>
                            <a:gs pos="0">
                              <a:srgbClr val="F51482"/>
                            </a:gs>
                            <a:gs pos="71600">
                              <a:srgbClr val="E31842"/>
                            </a:gs>
                            <a:gs pos="100000">
                              <a:srgbClr val="DC1928"/>
                            </a:gs>
                          </a:gsLst>
                          <a:lin ang="0" scaled="1"/>
                          <a:tileRect/>
                        </a:gradFill>
                        <a:latin typeface="+mj-lt"/>
                        <a:ea typeface="+mn-ea"/>
                        <a:cs typeface="+mn-cs"/>
                      </a:defRPr>
                    </a:pPr>
                    <a:fld id="{0B258150-B496-4D31-A569-24E5D5EB81B1}" type="VALUE">
                      <a:rPr lang="en-US" smtClean="0"/>
                      <a:pPr algn="ctr">
                        <a:defRPr lang="en-US" sz="1600" b="1" spc="-50">
                          <a:gradFill flip="none" rotWithShape="1">
                            <a:gsLst>
                              <a:gs pos="0">
                                <a:srgbClr val="F51482"/>
                              </a:gs>
                              <a:gs pos="71600">
                                <a:srgbClr val="E31842"/>
                              </a:gs>
                              <a:gs pos="100000">
                                <a:srgbClr val="DC1928"/>
                              </a:gs>
                            </a:gsLst>
                            <a:lin ang="0" scaled="1"/>
                            <a:tileRect/>
                          </a:gradFill>
                          <a:latin typeface="+mj-lt"/>
                        </a:defRPr>
                      </a:pPr>
                      <a:t>[VALUE]</a:t>
                    </a:fld>
                    <a:r>
                      <a:rPr lang="en-US"/>
                      <a:t>b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0" tIns="0" rIns="0" bIns="0" anchor="ctr" anchorCtr="0">
                  <a:noAutofit/>
                </a:bodyPr>
                <a:lstStyle/>
                <a:p>
                  <a:pPr algn="ctr">
                    <a:defRPr lang="en-US" sz="1600" b="1" i="0" u="none" strike="noStrike" kern="1200" spc="-50" baseline="0">
                      <a:gradFill flip="none" rotWithShape="1">
                        <a:gsLst>
                          <a:gs pos="0">
                            <a:srgbClr val="F51482"/>
                          </a:gs>
                          <a:gs pos="71600">
                            <a:srgbClr val="E31842"/>
                          </a:gs>
                          <a:gs pos="100000">
                            <a:srgbClr val="DC1928"/>
                          </a:gs>
                        </a:gsLst>
                        <a:lin ang="0" scaled="1"/>
                        <a:tileRect/>
                      </a:gra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934950184333191"/>
                      <c:h val="0.2024288992354346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82E-4D15-8252-354140AF96BE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82E-4D15-8252-354140AF96B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spc="-50" baseline="0">
                    <a:gradFill flip="none" rotWithShape="1">
                      <a:gsLst>
                        <a:gs pos="0">
                          <a:srgbClr val="F51482"/>
                        </a:gs>
                        <a:gs pos="71600">
                          <a:srgbClr val="E31842"/>
                        </a:gs>
                        <a:gs pos="100000">
                          <a:srgbClr val="DC1928"/>
                        </a:gs>
                      </a:gsLst>
                      <a:lin ang="0" scaled="1"/>
                      <a:tileRect/>
                    </a:gra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[$$-C09]#,##0.0</c:formatCode>
                <c:ptCount val="2"/>
                <c:pt idx="0">
                  <c:v>3.5</c:v>
                </c:pt>
                <c:pt idx="1">
                  <c:v>9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82E-4D15-8252-354140AF96B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68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501388888888886E-2"/>
          <c:y val="9.2072916666666671E-2"/>
          <c:w val="0.85158194444444446"/>
          <c:h val="0.8687715277777778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gradFill flip="none" rotWithShape="1">
                <a:gsLst>
                  <a:gs pos="2000">
                    <a:schemeClr val="accent3"/>
                  </a:gs>
                  <a:gs pos="100000">
                    <a:srgbClr val="FEDCEC"/>
                  </a:gs>
                </a:gsLst>
                <a:lin ang="13500000" scaled="1"/>
                <a:tileRect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82E-4D15-8252-354140AF96BE}"/>
              </c:ext>
            </c:extLst>
          </c:dPt>
          <c:dPt>
            <c:idx val="1"/>
            <c:bubble3D val="0"/>
            <c:spPr>
              <a:pattFill prst="ltDnDiag">
                <a:fgClr>
                  <a:schemeClr val="accent3"/>
                </a:fgClr>
                <a:bgClr>
                  <a:srgbClr val="FFFDFE"/>
                </a:bgClr>
              </a:patt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82E-4D15-8252-354140AF96BE}"/>
              </c:ext>
            </c:extLst>
          </c:dPt>
          <c:dLbls>
            <c:dLbl>
              <c:idx val="0"/>
              <c:layout>
                <c:manualLayout>
                  <c:x val="-3.0733242676128637E-2"/>
                  <c:y val="0.33595984539016288"/>
                </c:manualLayout>
              </c:layout>
              <c:tx>
                <c:rich>
                  <a:bodyPr rot="0" spcFirstLastPara="1" vertOverflow="ellipsis" vert="horz" wrap="none" lIns="0" tIns="0" rIns="0" bIns="0" anchor="ctr" anchorCtr="0">
                    <a:noAutofit/>
                  </a:bodyPr>
                  <a:lstStyle/>
                  <a:p>
                    <a:pPr algn="ctr">
                      <a:defRPr lang="en-US" sz="1600" b="1" i="0" u="none" strike="noStrike" kern="1200" spc="-50" baseline="0">
                        <a:gradFill flip="none" rotWithShape="1">
                          <a:gsLst>
                            <a:gs pos="0">
                              <a:srgbClr val="F51482"/>
                            </a:gs>
                            <a:gs pos="71600">
                              <a:srgbClr val="E31842"/>
                            </a:gs>
                            <a:gs pos="100000">
                              <a:srgbClr val="DC1928"/>
                            </a:gs>
                          </a:gsLst>
                          <a:lin ang="0" scaled="1"/>
                          <a:tileRect/>
                        </a:gradFill>
                        <a:latin typeface="+mj-lt"/>
                        <a:ea typeface="+mn-ea"/>
                        <a:cs typeface="+mn-cs"/>
                      </a:defRPr>
                    </a:pPr>
                    <a:fld id="{0B258150-B496-4D31-A569-24E5D5EB81B1}" type="VALUE">
                      <a:rPr lang="en-US" smtClean="0"/>
                      <a:pPr algn="ctr">
                        <a:defRPr lang="en-US" sz="1600" b="1" spc="-50">
                          <a:gradFill flip="none" rotWithShape="1">
                            <a:gsLst>
                              <a:gs pos="0">
                                <a:srgbClr val="F51482"/>
                              </a:gs>
                              <a:gs pos="71600">
                                <a:srgbClr val="E31842"/>
                              </a:gs>
                              <a:gs pos="100000">
                                <a:srgbClr val="DC1928"/>
                              </a:gs>
                            </a:gsLst>
                            <a:lin ang="0" scaled="1"/>
                            <a:tileRect/>
                          </a:gradFill>
                          <a:latin typeface="+mj-lt"/>
                        </a:defRPr>
                      </a:pPr>
                      <a:t>[VALUE]</a:t>
                    </a:fld>
                    <a:r>
                      <a:rPr lang="en-US"/>
                      <a:t>b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0" tIns="0" rIns="0" bIns="0" anchor="ctr" anchorCtr="0">
                  <a:noAutofit/>
                </a:bodyPr>
                <a:lstStyle/>
                <a:p>
                  <a:pPr algn="ctr">
                    <a:defRPr lang="en-US" sz="1600" b="1" i="0" u="none" strike="noStrike" kern="1200" spc="-50" baseline="0">
                      <a:gradFill flip="none" rotWithShape="1">
                        <a:gsLst>
                          <a:gs pos="0">
                            <a:srgbClr val="F51482"/>
                          </a:gs>
                          <a:gs pos="71600">
                            <a:srgbClr val="E31842"/>
                          </a:gs>
                          <a:gs pos="100000">
                            <a:srgbClr val="DC1928"/>
                          </a:gs>
                        </a:gsLst>
                        <a:lin ang="0" scaled="1"/>
                        <a:tileRect/>
                      </a:gra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934950184333191"/>
                      <c:h val="0.2024288992354346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82E-4D15-8252-354140AF96BE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82E-4D15-8252-354140AF96B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spc="-50" baseline="0">
                    <a:gradFill flip="none" rotWithShape="1">
                      <a:gsLst>
                        <a:gs pos="0">
                          <a:srgbClr val="F51482"/>
                        </a:gs>
                        <a:gs pos="71600">
                          <a:srgbClr val="E31842"/>
                        </a:gs>
                        <a:gs pos="100000">
                          <a:srgbClr val="DC1928"/>
                        </a:gs>
                      </a:gsLst>
                      <a:lin ang="0" scaled="1"/>
                      <a:tileRect/>
                    </a:gra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[$$-C09]#,##0.0</c:formatCode>
                <c:ptCount val="2"/>
                <c:pt idx="0">
                  <c:v>2.2000000000000002</c:v>
                </c:pt>
                <c:pt idx="1">
                  <c:v>97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82E-4D15-8252-354140AF96B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68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2.0528898154969982E-2"/>
          <c:w val="0.97277010395212604"/>
          <c:h val="0.8482359127772453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Sheet1!$B$1</c:f>
              <c:strCache>
                <c:ptCount val="1"/>
                <c:pt idx="0">
                  <c:v>Ex-China </c:v>
                </c:pt>
              </c:strCache>
            </c:strRef>
          </c:tx>
          <c:spPr>
            <a:solidFill>
              <a:srgbClr val="882D52">
                <a:lumMod val="40000"/>
                <a:lumOff val="60000"/>
              </a:srgb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2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5165-459B-959A-CA803BA3AE7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2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5165-459B-959A-CA803BA3AE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FY24A</c:v>
                </c:pt>
                <c:pt idx="1">
                  <c:v>FY31F</c:v>
                </c:pt>
              </c:strCache>
            </c:strRef>
          </c:cat>
          <c:val>
            <c:numRef>
              <c:f>Sheet1!$B$2:$B$3</c:f>
              <c:numCache>
                <c:formatCode>0.00</c:formatCode>
                <c:ptCount val="2"/>
                <c:pt idx="0">
                  <c:v>3.4431256181998E-2</c:v>
                </c:pt>
                <c:pt idx="1">
                  <c:v>6.167655786350147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65-459B-959A-CA803BA3AE72}"/>
            </c:ext>
          </c:extLst>
        </c:ser>
        <c:ser>
          <c:idx val="2"/>
          <c:order val="2"/>
          <c:tx>
            <c:strRef>
              <c:f>Sheet1!$C$1</c:f>
              <c:strCache>
                <c:ptCount val="1"/>
                <c:pt idx="0">
                  <c:v>Amazon</c:v>
                </c:pt>
              </c:strCache>
            </c:strRef>
          </c:tx>
          <c:spPr>
            <a:solidFill>
              <a:srgbClr val="232F3E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4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5165-459B-959A-CA803BA3AE7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4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5165-459B-959A-CA803BA3AE72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FY24A</c:v>
                </c:pt>
                <c:pt idx="1">
                  <c:v>FY31F</c:v>
                </c:pt>
              </c:strCache>
            </c:strRef>
          </c:cat>
          <c:val>
            <c:numRef>
              <c:f>Sheet1!$C$2:$C$3</c:f>
              <c:numCache>
                <c:formatCode>0.00</c:formatCode>
                <c:ptCount val="2"/>
                <c:pt idx="0">
                  <c:v>4.1048466864490603E-2</c:v>
                </c:pt>
                <c:pt idx="1">
                  <c:v>0.202769535113748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165-459B-959A-CA803BA3AE72}"/>
            </c:ext>
          </c:extLst>
        </c:ser>
        <c:ser>
          <c:idx val="3"/>
          <c:order val="3"/>
          <c:tx>
            <c:strRef>
              <c:f>Sheet1!$D$1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rgbClr val="DC1928">
                <a:lumMod val="60000"/>
                <a:lumOff val="40000"/>
              </a:srgb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75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5165-459B-959A-CA803BA3AE7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48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5165-459B-959A-CA803BA3AE72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FY24A</c:v>
                </c:pt>
                <c:pt idx="1">
                  <c:v>FY31F</c:v>
                </c:pt>
              </c:strCache>
            </c:strRef>
          </c:cat>
          <c:val>
            <c:numRef>
              <c:f>Sheet1!$D$2:$D$3</c:f>
              <c:numCache>
                <c:formatCode>0.00</c:formatCode>
                <c:ptCount val="2"/>
                <c:pt idx="0">
                  <c:v>0.22449554896142432</c:v>
                </c:pt>
                <c:pt idx="1">
                  <c:v>0.24462908011869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165-459B-959A-CA803BA3A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9"/>
        <c:overlap val="100"/>
        <c:axId val="518835183"/>
        <c:axId val="2006745664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strCache>
                      <c:ptCount val="2"/>
                      <c:pt idx="0">
                        <c:v>FY24A</c:v>
                      </c:pt>
                      <c:pt idx="1">
                        <c:v>FY31F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9-5165-459B-959A-CA803BA3AE72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strCache>
                      <c:ptCount val="2"/>
                      <c:pt idx="0">
                        <c:v>FY24A</c:v>
                      </c:pt>
                      <c:pt idx="1">
                        <c:v>FY31F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5165-459B-959A-CA803BA3AE72}"/>
                  </c:ext>
                </c:extLst>
              </c15:ser>
            </c15:filteredBarSeries>
          </c:ext>
        </c:extLst>
      </c:barChart>
      <c:catAx>
        <c:axId val="518835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6745664"/>
        <c:crosses val="autoZero"/>
        <c:auto val="1"/>
        <c:lblAlgn val="ctr"/>
        <c:lblOffset val="100"/>
        <c:noMultiLvlLbl val="0"/>
      </c:catAx>
      <c:valAx>
        <c:axId val="2006745664"/>
        <c:scaling>
          <c:orientation val="minMax"/>
          <c:max val="0.55000000000000004"/>
          <c:min val="0"/>
        </c:scaling>
        <c:delete val="1"/>
        <c:axPos val="l"/>
        <c:numFmt formatCode="0.00" sourceLinked="1"/>
        <c:majorTickMark val="out"/>
        <c:minorTickMark val="none"/>
        <c:tickLblPos val="nextTo"/>
        <c:crossAx val="518835183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95996389759698E-3"/>
          <c:y val="3.9139261245743573E-2"/>
          <c:w val="0.99838040036102405"/>
          <c:h val="0.9217214775085128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blipFill>
              <a:blip xmlns:r="http://schemas.openxmlformats.org/officeDocument/2006/relationships"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 Builders</c:v>
                </c:pt>
                <c:pt idx="1">
                  <c:v>Baby Boomers</c:v>
                </c:pt>
                <c:pt idx="2">
                  <c:v>Gen X</c:v>
                </c:pt>
                <c:pt idx="3">
                  <c:v>Millennials</c:v>
                </c:pt>
                <c:pt idx="4">
                  <c:v>Gen Z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09</c:v>
                </c:pt>
                <c:pt idx="1">
                  <c:v>0.09</c:v>
                </c:pt>
                <c:pt idx="2">
                  <c:v>0.09</c:v>
                </c:pt>
                <c:pt idx="3">
                  <c:v>0.09</c:v>
                </c:pt>
                <c:pt idx="4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8F-4D94-87FE-52F82CEB8E8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ATA2</c:v>
                </c:pt>
              </c:strCache>
            </c:strRef>
          </c:tx>
          <c:spPr>
            <a:gradFill flip="none" rotWithShape="1">
              <a:gsLst>
                <a:gs pos="100000">
                  <a:srgbClr val="FEDCEC"/>
                </a:gs>
                <a:gs pos="0">
                  <a:srgbClr val="FF51A2"/>
                </a:gs>
              </a:gsLst>
              <a:lin ang="10800000" scaled="1"/>
              <a:tileRect/>
            </a:gra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26841092045472326"/>
                  <c:y val="7.116229317407791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2400" b="1" i="0" u="none" strike="noStrike" kern="1200" spc="-50" baseline="0">
                      <a:gradFill flip="none" rotWithShape="1">
                        <a:gsLst>
                          <a:gs pos="0">
                            <a:srgbClr val="F51482"/>
                          </a:gs>
                          <a:gs pos="71600">
                            <a:srgbClr val="E31842"/>
                          </a:gs>
                          <a:gs pos="100000">
                            <a:srgbClr val="DC1928"/>
                          </a:gs>
                        </a:gsLst>
                        <a:lin ang="0" scaled="1"/>
                        <a:tileRect/>
                      </a:gra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38F-4D94-87FE-52F82CEB8E8C}"/>
                </c:ext>
              </c:extLst>
            </c:dLbl>
            <c:dLbl>
              <c:idx val="1"/>
              <c:layout>
                <c:manualLayout>
                  <c:x val="0.29432159309672001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2400" b="1" i="0" u="none" strike="noStrike" kern="1200" spc="-50" baseline="0">
                      <a:gradFill flip="none" rotWithShape="1">
                        <a:gsLst>
                          <a:gs pos="0">
                            <a:srgbClr val="F51482"/>
                          </a:gs>
                          <a:gs pos="71600">
                            <a:srgbClr val="E31842"/>
                          </a:gs>
                          <a:gs pos="100000">
                            <a:srgbClr val="DC1928"/>
                          </a:gs>
                        </a:gsLst>
                        <a:lin ang="0" scaled="1"/>
                        <a:tileRect/>
                      </a:gra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38F-4D94-87FE-52F82CEB8E8C}"/>
                </c:ext>
              </c:extLst>
            </c:dLbl>
            <c:dLbl>
              <c:idx val="2"/>
              <c:layout>
                <c:manualLayout>
                  <c:x val="0.37680765037015396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2400" b="1" i="0" u="none" strike="noStrike" kern="1200" spc="-50" baseline="0">
                      <a:gradFill flip="none" rotWithShape="1">
                        <a:gsLst>
                          <a:gs pos="0">
                            <a:srgbClr val="F51482"/>
                          </a:gs>
                          <a:gs pos="71600">
                            <a:srgbClr val="E31842"/>
                          </a:gs>
                          <a:gs pos="100000">
                            <a:srgbClr val="DC1928"/>
                          </a:gs>
                        </a:gsLst>
                        <a:lin ang="0" scaled="1"/>
                        <a:tileRect/>
                      </a:gra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38F-4D94-87FE-52F82CEB8E8C}"/>
                </c:ext>
              </c:extLst>
            </c:dLbl>
            <c:dLbl>
              <c:idx val="3"/>
              <c:layout>
                <c:manualLayout>
                  <c:x val="0.46841405072074366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en-US" sz="2400" b="1" i="0" u="none" strike="noStrike" kern="1200" spc="-50" baseline="0">
                      <a:gradFill flip="none" rotWithShape="1">
                        <a:gsLst>
                          <a:gs pos="0">
                            <a:srgbClr val="F51482"/>
                          </a:gs>
                          <a:gs pos="71600">
                            <a:srgbClr val="E31842"/>
                          </a:gs>
                          <a:gs pos="100000">
                            <a:srgbClr val="DC1928"/>
                          </a:gs>
                        </a:gsLst>
                        <a:lin ang="0" scaled="1"/>
                        <a:tileRect/>
                      </a:gra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38F-4D94-87FE-52F82CEB8E8C}"/>
                </c:ext>
              </c:extLst>
            </c:dLbl>
            <c:dLbl>
              <c:idx val="4"/>
              <c:layout>
                <c:manualLayout>
                  <c:x val="0.46798082190351464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en-US" sz="2400" b="1" i="0" u="none" strike="noStrike" kern="1200" spc="-50" baseline="0">
                      <a:gradFill flip="none" rotWithShape="1">
                        <a:gsLst>
                          <a:gs pos="0">
                            <a:srgbClr val="F51482"/>
                          </a:gs>
                          <a:gs pos="71600">
                            <a:srgbClr val="E31842"/>
                          </a:gs>
                          <a:gs pos="100000">
                            <a:srgbClr val="DC1928"/>
                          </a:gs>
                        </a:gsLst>
                        <a:lin ang="0" scaled="1"/>
                        <a:tileRect/>
                      </a:gra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38F-4D94-87FE-52F82CEB8E8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2400" b="1" i="0" u="none" strike="noStrike" kern="1200" baseline="0">
                    <a:gradFill>
                      <a:gsLst>
                        <a:gs pos="0">
                          <a:schemeClr val="bg2"/>
                        </a:gs>
                        <a:gs pos="100000">
                          <a:srgbClr val="FF1387"/>
                        </a:gs>
                      </a:gsLst>
                      <a:lin ang="0" scaled="1"/>
                    </a:gra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 Builders</c:v>
                </c:pt>
                <c:pt idx="1">
                  <c:v>Baby Boomers</c:v>
                </c:pt>
                <c:pt idx="2">
                  <c:v>Gen X</c:v>
                </c:pt>
                <c:pt idx="3">
                  <c:v>Millennials</c:v>
                </c:pt>
                <c:pt idx="4">
                  <c:v>Gen Z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23</c:v>
                </c:pt>
                <c:pt idx="1">
                  <c:v>0.28000000000000003</c:v>
                </c:pt>
                <c:pt idx="2">
                  <c:v>0.44</c:v>
                </c:pt>
                <c:pt idx="3">
                  <c:v>0.64</c:v>
                </c:pt>
                <c:pt idx="4">
                  <c:v>0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38F-4D94-87FE-52F82CEB8E8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blipFill>
              <a:blip xmlns:r="http://schemas.openxmlformats.org/officeDocument/2006/relationships"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 Builders</c:v>
                </c:pt>
                <c:pt idx="1">
                  <c:v>Baby Boomers</c:v>
                </c:pt>
                <c:pt idx="2">
                  <c:v>Gen X</c:v>
                </c:pt>
                <c:pt idx="3">
                  <c:v>Millennials</c:v>
                </c:pt>
                <c:pt idx="4">
                  <c:v>Gen Z</c:v>
                </c:pt>
              </c:strCache>
            </c:strRef>
          </c:cat>
          <c:val>
            <c:numRef>
              <c:f>Sheet1!$D$2:$D$6</c:f>
              <c:numCache>
                <c:formatCode>0%</c:formatCode>
                <c:ptCount val="5"/>
                <c:pt idx="0">
                  <c:v>0.09</c:v>
                </c:pt>
                <c:pt idx="1">
                  <c:v>0.09</c:v>
                </c:pt>
                <c:pt idx="2">
                  <c:v>0.09</c:v>
                </c:pt>
                <c:pt idx="3">
                  <c:v>0.09</c:v>
                </c:pt>
                <c:pt idx="4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38F-4D94-87FE-52F82CEB8E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331919343"/>
        <c:axId val="1331919823"/>
      </c:barChart>
      <c:catAx>
        <c:axId val="133191934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331919823"/>
        <c:crosses val="autoZero"/>
        <c:auto val="1"/>
        <c:lblAlgn val="ctr"/>
        <c:lblOffset val="100"/>
        <c:noMultiLvlLbl val="0"/>
      </c:catAx>
      <c:valAx>
        <c:axId val="1331919823"/>
        <c:scaling>
          <c:orientation val="minMax"/>
          <c:max val="1.1000000000000001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133191934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7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501388888888886E-2"/>
          <c:y val="9.2072916666666671E-2"/>
          <c:w val="0.85158194444444446"/>
          <c:h val="0.8687715277777778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gradFill flip="none" rotWithShape="1">
                <a:gsLst>
                  <a:gs pos="34000">
                    <a:srgbClr val="FEDCEC"/>
                  </a:gs>
                  <a:gs pos="81000">
                    <a:srgbClr val="FF1387"/>
                  </a:gs>
                </a:gsLst>
                <a:lin ang="7200000" scaled="0"/>
                <a:tileRect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B6-437C-8F7B-CDD148B427EC}"/>
              </c:ext>
            </c:extLst>
          </c:dPt>
          <c:dPt>
            <c:idx val="1"/>
            <c:bubble3D val="0"/>
            <c:spPr>
              <a:pattFill prst="ltDnDiag">
                <a:fgClr>
                  <a:schemeClr val="accent3"/>
                </a:fgClr>
                <a:bgClr>
                  <a:schemeClr val="bg1"/>
                </a:bgClr>
              </a:patt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B6-437C-8F7B-CDD148B427EC}"/>
              </c:ext>
            </c:extLst>
          </c:dPt>
          <c:dLbls>
            <c:dLbl>
              <c:idx val="0"/>
              <c:layout>
                <c:manualLayout>
                  <c:x val="-0.15342076623090578"/>
                  <c:y val="5.4461545238647041E-3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800" b="1"/>
                    </a:pPr>
                    <a:fld id="{5FABD3D7-F15C-4992-94CF-39BDDF8AF1C1}" type="VALUE">
                      <a:rPr lang="en-US" sz="1800" b="1" kern="1200" spc="-50">
                        <a:gradFill flip="none" rotWithShape="1">
                          <a:gsLst>
                            <a:gs pos="0">
                              <a:schemeClr val="accent3"/>
                            </a:gs>
                            <a:gs pos="71600">
                              <a:srgbClr val="E31842"/>
                            </a:gs>
                            <a:gs pos="100000">
                              <a:schemeClr val="accent2"/>
                            </a:gs>
                          </a:gsLst>
                          <a:lin ang="0" scaled="1"/>
                          <a:tileRect/>
                        </a:gradFill>
                        <a:latin typeface="+mj-lt"/>
                        <a:ea typeface="+mn-ea"/>
                        <a:cs typeface="+mn-cs"/>
                      </a:rPr>
                      <a:pPr>
                        <a:defRPr sz="1800" b="1"/>
                      </a:pPr>
                      <a:t>[VALUE]</a:t>
                    </a:fld>
                    <a:endParaRPr lang="en-GB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63405141106351104"/>
                      <c:h val="0.3116364405116047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88B6-437C-8F7B-CDD148B427E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B6-437C-8F7B-CDD148B427E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45</c:v>
                </c:pt>
                <c:pt idx="1">
                  <c:v>0.55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8B6-437C-8F7B-CDD148B427E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68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1363787767360704"/>
          <c:w val="1"/>
          <c:h val="0.88636212232639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blipFill>
              <a:blip xmlns:r="http://schemas.openxmlformats.org/officeDocument/2006/relationships"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blipFill>
                <a:blip xmlns:r="http://schemas.openxmlformats.org/officeDocument/2006/relationships"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4DB-4C0B-8B48-33A3F06C00CD}"/>
              </c:ext>
            </c:extLst>
          </c:dPt>
          <c:dPt>
            <c:idx val="1"/>
            <c:invertIfNegative val="0"/>
            <c:bubble3D val="0"/>
            <c:spPr>
              <a:blipFill>
                <a:blip xmlns:r="http://schemas.openxmlformats.org/officeDocument/2006/relationships"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4DB-4C0B-8B48-33A3F06C00CD}"/>
              </c:ext>
            </c:extLst>
          </c:dPt>
          <c:dPt>
            <c:idx val="2"/>
            <c:invertIfNegative val="0"/>
            <c:bubble3D val="0"/>
            <c:spPr>
              <a:blipFill>
                <a:blip xmlns:r="http://schemas.openxmlformats.org/officeDocument/2006/relationships"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4DB-4C0B-8B48-33A3F06C00CD}"/>
              </c:ext>
            </c:extLst>
          </c:dPt>
          <c:dPt>
            <c:idx val="3"/>
            <c:invertIfNegative val="0"/>
            <c:bubble3D val="0"/>
            <c:spPr>
              <a:blipFill>
                <a:blip xmlns:r="http://schemas.openxmlformats.org/officeDocument/2006/relationships"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4DB-4C0B-8B48-33A3F06C00CD}"/>
              </c:ext>
            </c:extLst>
          </c:dPt>
          <c:dPt>
            <c:idx val="4"/>
            <c:invertIfNegative val="0"/>
            <c:bubble3D val="0"/>
            <c:spPr>
              <a:blipFill>
                <a:blip xmlns:r="http://schemas.openxmlformats.org/officeDocument/2006/relationships"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F4DB-4C0B-8B48-33A3F06C00CD}"/>
              </c:ext>
            </c:extLst>
          </c:dPt>
          <c:dPt>
            <c:idx val="5"/>
            <c:invertIfNegative val="0"/>
            <c:bubble3D val="0"/>
            <c:spPr>
              <a:blipFill>
                <a:blip xmlns:r="http://schemas.openxmlformats.org/officeDocument/2006/relationships"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F4DB-4C0B-8B48-33A3F06C00CD}"/>
              </c:ext>
            </c:extLst>
          </c:dPt>
          <c:dPt>
            <c:idx val="6"/>
            <c:invertIfNegative val="0"/>
            <c:bubble3D val="0"/>
            <c:spPr>
              <a:blipFill>
                <a:blip xmlns:r="http://schemas.openxmlformats.org/officeDocument/2006/relationships"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F4DB-4C0B-8B48-33A3F06C00CD}"/>
              </c:ext>
            </c:extLst>
          </c:dPt>
          <c:dPt>
            <c:idx val="7"/>
            <c:invertIfNegative val="0"/>
            <c:bubble3D val="0"/>
            <c:spPr>
              <a:blipFill>
                <a:blip xmlns:r="http://schemas.openxmlformats.org/officeDocument/2006/relationships"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F4DB-4C0B-8B48-33A3F06C00CD}"/>
              </c:ext>
            </c:extLst>
          </c:dPt>
          <c:dPt>
            <c:idx val="8"/>
            <c:invertIfNegative val="0"/>
            <c:bubble3D val="0"/>
            <c:spPr>
              <a:blipFill>
                <a:blip xmlns:r="http://schemas.openxmlformats.org/officeDocument/2006/relationships"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F4DB-4C0B-8B48-33A3F06C00CD}"/>
              </c:ext>
            </c:extLst>
          </c:dPt>
          <c:dLbls>
            <c:delete val="1"/>
          </c:dLbls>
          <c:cat>
            <c:strRef>
              <c:f>Sheet1!$A$2:$A$10</c:f>
              <c:strCache>
                <c:ptCount val="9"/>
                <c:pt idx="0">
                  <c:v>Online Marketplaces</c:v>
                </c:pt>
                <c:pt idx="1">
                  <c:v>Food &amp; Liquor</c:v>
                </c:pt>
                <c:pt idx="2">
                  <c:v>Fashion</c:v>
                </c:pt>
                <c:pt idx="3">
                  <c:v>Home &amp; Garden</c:v>
                </c:pt>
                <c:pt idx="4">
                  <c:v>Consumer Electronics</c:v>
                </c:pt>
                <c:pt idx="5">
                  <c:v>Hobbies &amp; Recreational Goods</c:v>
                </c:pt>
                <c:pt idx="6">
                  <c:v>Department Stores</c:v>
                </c:pt>
                <c:pt idx="7">
                  <c:v>Health &amp; Beauty</c:v>
                </c:pt>
                <c:pt idx="8">
                  <c:v>Books, Stationery &amp; Multimedia</c:v>
                </c:pt>
              </c:strCache>
            </c:strRef>
          </c:cat>
          <c:val>
            <c:numRef>
              <c:f>Sheet1!$B$2:$B$10</c:f>
              <c:numCache>
                <c:formatCode>0.0%</c:formatCode>
                <c:ptCount val="9"/>
                <c:pt idx="0">
                  <c:v>0.04</c:v>
                </c:pt>
                <c:pt idx="1">
                  <c:v>0.04</c:v>
                </c:pt>
                <c:pt idx="2">
                  <c:v>0.04</c:v>
                </c:pt>
                <c:pt idx="3">
                  <c:v>0.04</c:v>
                </c:pt>
                <c:pt idx="4">
                  <c:v>0.04</c:v>
                </c:pt>
                <c:pt idx="5">
                  <c:v>0.04</c:v>
                </c:pt>
                <c:pt idx="6">
                  <c:v>0.04</c:v>
                </c:pt>
                <c:pt idx="7">
                  <c:v>0.04</c:v>
                </c:pt>
                <c:pt idx="8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F4DB-4C0B-8B48-33A3F06C00C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ATA</c:v>
                </c:pt>
              </c:strCache>
            </c:strRef>
          </c:tx>
          <c:spPr>
            <a:gradFill>
              <a:gsLst>
                <a:gs pos="100000">
                  <a:srgbClr val="FEDCEC"/>
                </a:gs>
                <a:gs pos="3000">
                  <a:srgbClr val="FF51A2"/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0.440632690358261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F4DB-4C0B-8B48-33A3F06C00CD}"/>
                </c:ext>
              </c:extLst>
            </c:dLbl>
            <c:dLbl>
              <c:idx val="1"/>
              <c:layout>
                <c:manualLayout>
                  <c:x val="0"/>
                  <c:y val="-0.3036901249359666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F4DB-4C0B-8B48-33A3F06C00CD}"/>
                </c:ext>
              </c:extLst>
            </c:dLbl>
            <c:dLbl>
              <c:idx val="2"/>
              <c:layout>
                <c:manualLayout>
                  <c:x val="3.8019749853286642E-3"/>
                  <c:y val="-0.20997157756803614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6326507131503401E-2"/>
                      <c:h val="7.376836948570854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5-F4DB-4C0B-8B48-33A3F06C00CD}"/>
                </c:ext>
              </c:extLst>
            </c:dLbl>
            <c:dLbl>
              <c:idx val="3"/>
              <c:layout>
                <c:manualLayout>
                  <c:x val="4.6467436542301734E-17"/>
                  <c:y val="-0.2720313227604906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F4DB-4C0B-8B48-33A3F06C00CD}"/>
                </c:ext>
              </c:extLst>
            </c:dLbl>
            <c:dLbl>
              <c:idx val="4"/>
              <c:layout>
                <c:manualLayout>
                  <c:x val="-9.2934873084603467E-17"/>
                  <c:y val="-0.2551957656122374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F4DB-4C0B-8B48-33A3F06C00CD}"/>
                </c:ext>
              </c:extLst>
            </c:dLbl>
            <c:dLbl>
              <c:idx val="5"/>
              <c:layout>
                <c:manualLayout>
                  <c:x val="0"/>
                  <c:y val="-0.24171488241330444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2949080448036414E-2"/>
                      <c:h val="7.793607397642653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8-F4DB-4C0B-8B48-33A3F06C00CD}"/>
                </c:ext>
              </c:extLst>
            </c:dLbl>
            <c:dLbl>
              <c:idx val="6"/>
              <c:layout>
                <c:manualLayout>
                  <c:x val="0"/>
                  <c:y val="-0.3296342494735401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F4DB-4C0B-8B48-33A3F06C00CD}"/>
                </c:ext>
              </c:extLst>
            </c:dLbl>
            <c:dLbl>
              <c:idx val="7"/>
              <c:layout>
                <c:manualLayout>
                  <c:x val="-9.2934873084603467E-17"/>
                  <c:y val="-0.3321627662531451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F4DB-4C0B-8B48-33A3F06C00CD}"/>
                </c:ext>
              </c:extLst>
            </c:dLbl>
            <c:dLbl>
              <c:idx val="8"/>
              <c:layout>
                <c:manualLayout>
                  <c:x val="0"/>
                  <c:y val="-0.4059035698193874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F4DB-4C0B-8B48-33A3F06C00C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Online Marketplaces</c:v>
                </c:pt>
                <c:pt idx="1">
                  <c:v>Food &amp; Liquor</c:v>
                </c:pt>
                <c:pt idx="2">
                  <c:v>Fashion</c:v>
                </c:pt>
                <c:pt idx="3">
                  <c:v>Home &amp; Garden</c:v>
                </c:pt>
                <c:pt idx="4">
                  <c:v>Consumer Electronics</c:v>
                </c:pt>
                <c:pt idx="5">
                  <c:v>Hobbies &amp; Recreational Goods</c:v>
                </c:pt>
                <c:pt idx="6">
                  <c:v>Department Stores</c:v>
                </c:pt>
                <c:pt idx="7">
                  <c:v>Health &amp; Beauty</c:v>
                </c:pt>
                <c:pt idx="8">
                  <c:v>Books, Stationery &amp; Multimedia</c:v>
                </c:pt>
              </c:strCache>
            </c:strRef>
          </c:cat>
          <c:val>
            <c:numRef>
              <c:f>Sheet1!$C$2:$C$10</c:f>
              <c:numCache>
                <c:formatCode>0.0%</c:formatCode>
                <c:ptCount val="9"/>
                <c:pt idx="0">
                  <c:v>0.223</c:v>
                </c:pt>
                <c:pt idx="1">
                  <c:v>0.115</c:v>
                </c:pt>
                <c:pt idx="2">
                  <c:v>4.1000000000000002E-2</c:v>
                </c:pt>
                <c:pt idx="3">
                  <c:v>9.0999999999999998E-2</c:v>
                </c:pt>
                <c:pt idx="4">
                  <c:v>7.5999999999999998E-2</c:v>
                </c:pt>
                <c:pt idx="5">
                  <c:v>6.4000000000000001E-2</c:v>
                </c:pt>
                <c:pt idx="6">
                  <c:v>0.13300000000000001</c:v>
                </c:pt>
                <c:pt idx="7">
                  <c:v>0.13400000000000001</c:v>
                </c:pt>
                <c:pt idx="8">
                  <c:v>0.1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F4DB-4C0B-8B48-33A3F06C00C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blipFill>
              <a:blip xmlns:r="http://schemas.openxmlformats.org/officeDocument/2006/relationships"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0</c:f>
              <c:strCache>
                <c:ptCount val="9"/>
                <c:pt idx="0">
                  <c:v>Online Marketplaces</c:v>
                </c:pt>
                <c:pt idx="1">
                  <c:v>Food &amp; Liquor</c:v>
                </c:pt>
                <c:pt idx="2">
                  <c:v>Fashion</c:v>
                </c:pt>
                <c:pt idx="3">
                  <c:v>Home &amp; Garden</c:v>
                </c:pt>
                <c:pt idx="4">
                  <c:v>Consumer Electronics</c:v>
                </c:pt>
                <c:pt idx="5">
                  <c:v>Hobbies &amp; Recreational Goods</c:v>
                </c:pt>
                <c:pt idx="6">
                  <c:v>Department Stores</c:v>
                </c:pt>
                <c:pt idx="7">
                  <c:v>Health &amp; Beauty</c:v>
                </c:pt>
                <c:pt idx="8">
                  <c:v>Books, Stationery &amp; Multimedia</c:v>
                </c:pt>
              </c:strCache>
            </c:strRef>
          </c:cat>
          <c:val>
            <c:numRef>
              <c:f>Sheet1!$D$2:$D$10</c:f>
              <c:numCache>
                <c:formatCode>0.0%</c:formatCode>
                <c:ptCount val="9"/>
                <c:pt idx="0">
                  <c:v>0.04</c:v>
                </c:pt>
                <c:pt idx="1">
                  <c:v>0.04</c:v>
                </c:pt>
                <c:pt idx="2">
                  <c:v>0.04</c:v>
                </c:pt>
                <c:pt idx="3">
                  <c:v>0.04</c:v>
                </c:pt>
                <c:pt idx="4">
                  <c:v>0.04</c:v>
                </c:pt>
                <c:pt idx="5">
                  <c:v>0.04</c:v>
                </c:pt>
                <c:pt idx="6">
                  <c:v>0.04</c:v>
                </c:pt>
                <c:pt idx="7">
                  <c:v>0.04</c:v>
                </c:pt>
                <c:pt idx="8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F4DB-4C0B-8B48-33A3F06C00C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1045809216"/>
        <c:axId val="1501731807"/>
      </c:barChart>
      <c:catAx>
        <c:axId val="10458092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01731807"/>
        <c:crosses val="autoZero"/>
        <c:auto val="1"/>
        <c:lblAlgn val="ctr"/>
        <c:lblOffset val="100"/>
        <c:noMultiLvlLbl val="0"/>
      </c:catAx>
      <c:valAx>
        <c:axId val="1501731807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10458092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7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501388888888886E-2"/>
          <c:y val="9.2072916666666671E-2"/>
          <c:w val="0.85158194444444446"/>
          <c:h val="0.8687715277777778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gradFill flip="none" rotWithShape="1">
                <a:gsLst>
                  <a:gs pos="2000">
                    <a:schemeClr val="accent3"/>
                  </a:gs>
                  <a:gs pos="100000">
                    <a:srgbClr val="FEDCEC"/>
                  </a:gs>
                </a:gsLst>
                <a:lin ang="13500000" scaled="1"/>
                <a:tileRect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82E-4D15-8252-354140AF96BE}"/>
              </c:ext>
            </c:extLst>
          </c:dPt>
          <c:dPt>
            <c:idx val="1"/>
            <c:bubble3D val="0"/>
            <c:spPr>
              <a:pattFill prst="ltDnDiag">
                <a:fgClr>
                  <a:schemeClr val="accent3"/>
                </a:fgClr>
                <a:bgClr>
                  <a:srgbClr val="FFFDFE"/>
                </a:bgClr>
              </a:patt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82E-4D15-8252-354140AF96BE}"/>
              </c:ext>
            </c:extLst>
          </c:dPt>
          <c:dLbls>
            <c:dLbl>
              <c:idx val="0"/>
              <c:layout>
                <c:manualLayout>
                  <c:x val="-0.14510541151466574"/>
                  <c:y val="0.31308537042240336"/>
                </c:manualLayout>
              </c:layout>
              <c:tx>
                <c:rich>
                  <a:bodyPr rot="0" spcFirstLastPara="1" vertOverflow="ellipsis" vert="horz" wrap="none" lIns="0" tIns="0" rIns="0" bIns="0" anchor="ctr" anchorCtr="0">
                    <a:noAutofit/>
                  </a:bodyPr>
                  <a:lstStyle/>
                  <a:p>
                    <a:pPr algn="ctr">
                      <a:defRPr lang="en-US" sz="1600" b="1" i="0" u="none" strike="noStrike" kern="1200" spc="-50" baseline="0">
                        <a:gradFill flip="none" rotWithShape="1">
                          <a:gsLst>
                            <a:gs pos="0">
                              <a:srgbClr val="F51482"/>
                            </a:gs>
                            <a:gs pos="71600">
                              <a:srgbClr val="E31842"/>
                            </a:gs>
                            <a:gs pos="100000">
                              <a:srgbClr val="DC1928"/>
                            </a:gs>
                          </a:gsLst>
                          <a:lin ang="0" scaled="1"/>
                          <a:tileRect/>
                        </a:gradFill>
                        <a:latin typeface="+mj-lt"/>
                        <a:ea typeface="+mn-ea"/>
                        <a:cs typeface="+mn-cs"/>
                      </a:defRPr>
                    </a:pPr>
                    <a:fld id="{0B258150-B496-4D31-A569-24E5D5EB81B1}" type="VALUE">
                      <a:rPr lang="en-US" smtClean="0"/>
                      <a:pPr algn="ctr">
                        <a:defRPr lang="en-US" sz="1600" b="1" spc="-50">
                          <a:gradFill flip="none" rotWithShape="1">
                            <a:gsLst>
                              <a:gs pos="0">
                                <a:srgbClr val="F51482"/>
                              </a:gs>
                              <a:gs pos="71600">
                                <a:srgbClr val="E31842"/>
                              </a:gs>
                              <a:gs pos="100000">
                                <a:srgbClr val="DC1928"/>
                              </a:gs>
                            </a:gsLst>
                            <a:lin ang="0" scaled="1"/>
                            <a:tileRect/>
                          </a:gradFill>
                          <a:latin typeface="+mj-lt"/>
                        </a:defRPr>
                      </a:pPr>
                      <a:t>[VALUE]</a:t>
                    </a:fld>
                    <a:r>
                      <a:rPr lang="en-US"/>
                      <a:t>b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0" tIns="0" rIns="0" bIns="0" anchor="ctr" anchorCtr="0">
                  <a:noAutofit/>
                </a:bodyPr>
                <a:lstStyle/>
                <a:p>
                  <a:pPr algn="ctr">
                    <a:defRPr lang="en-US" sz="1600" b="1" i="0" u="none" strike="noStrike" kern="1200" spc="-50" baseline="0">
                      <a:gradFill flip="none" rotWithShape="1">
                        <a:gsLst>
                          <a:gs pos="0">
                            <a:srgbClr val="F51482"/>
                          </a:gs>
                          <a:gs pos="71600">
                            <a:srgbClr val="E31842"/>
                          </a:gs>
                          <a:gs pos="100000">
                            <a:srgbClr val="DC1928"/>
                          </a:gs>
                        </a:gsLst>
                        <a:lin ang="0" scaled="1"/>
                        <a:tileRect/>
                      </a:gra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934950184333191"/>
                      <c:h val="0.2024288992354346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82E-4D15-8252-354140AF96BE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82E-4D15-8252-354140AF96B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spc="-50" baseline="0">
                    <a:gradFill flip="none" rotWithShape="1">
                      <a:gsLst>
                        <a:gs pos="0">
                          <a:srgbClr val="F51482"/>
                        </a:gs>
                        <a:gs pos="71600">
                          <a:srgbClr val="E31842"/>
                        </a:gs>
                        <a:gs pos="100000">
                          <a:srgbClr val="DC1928"/>
                        </a:gs>
                      </a:gsLst>
                      <a:lin ang="0" scaled="1"/>
                      <a:tileRect/>
                    </a:gra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[$$-C09]#,##0.0</c:formatCode>
                <c:ptCount val="2"/>
                <c:pt idx="0">
                  <c:v>13.6</c:v>
                </c:pt>
                <c:pt idx="1">
                  <c:v>86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82E-4D15-8252-354140AF96B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68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501388888888886E-2"/>
          <c:y val="9.2072916666666671E-2"/>
          <c:w val="0.85158194444444446"/>
          <c:h val="0.8687715277777778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gradFill flip="none" rotWithShape="1">
                <a:gsLst>
                  <a:gs pos="2000">
                    <a:schemeClr val="accent3"/>
                  </a:gs>
                  <a:gs pos="100000">
                    <a:srgbClr val="FEDCEC"/>
                  </a:gs>
                </a:gsLst>
                <a:lin ang="13500000" scaled="1"/>
                <a:tileRect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82E-4D15-8252-354140AF96BE}"/>
              </c:ext>
            </c:extLst>
          </c:dPt>
          <c:dPt>
            <c:idx val="1"/>
            <c:bubble3D val="0"/>
            <c:spPr>
              <a:pattFill prst="ltDnDiag">
                <a:fgClr>
                  <a:schemeClr val="accent3"/>
                </a:fgClr>
                <a:bgClr>
                  <a:srgbClr val="FFFDFE"/>
                </a:bgClr>
              </a:patt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82E-4D15-8252-354140AF96BE}"/>
              </c:ext>
            </c:extLst>
          </c:dPt>
          <c:dLbls>
            <c:dLbl>
              <c:idx val="0"/>
              <c:layout>
                <c:manualLayout>
                  <c:x val="-0.16797984528237317"/>
                  <c:y val="0.30164813293852349"/>
                </c:manualLayout>
              </c:layout>
              <c:tx>
                <c:rich>
                  <a:bodyPr rot="0" spcFirstLastPara="1" vertOverflow="ellipsis" vert="horz" wrap="none" lIns="0" tIns="0" rIns="0" bIns="0" anchor="ctr" anchorCtr="0">
                    <a:noAutofit/>
                  </a:bodyPr>
                  <a:lstStyle/>
                  <a:p>
                    <a:pPr algn="ctr">
                      <a:defRPr lang="en-US" sz="1600" b="1" i="0" u="none" strike="noStrike" kern="1200" spc="-50" baseline="0">
                        <a:gradFill flip="none" rotWithShape="1">
                          <a:gsLst>
                            <a:gs pos="0">
                              <a:srgbClr val="F51482"/>
                            </a:gs>
                            <a:gs pos="71600">
                              <a:srgbClr val="E31842"/>
                            </a:gs>
                            <a:gs pos="100000">
                              <a:srgbClr val="DC1928"/>
                            </a:gs>
                          </a:gsLst>
                          <a:lin ang="0" scaled="1"/>
                          <a:tileRect/>
                        </a:gradFill>
                        <a:latin typeface="+mj-lt"/>
                        <a:ea typeface="+mn-ea"/>
                        <a:cs typeface="+mn-cs"/>
                      </a:defRPr>
                    </a:pPr>
                    <a:fld id="{0B258150-B496-4D31-A569-24E5D5EB81B1}" type="VALUE">
                      <a:rPr lang="en-US" smtClean="0"/>
                      <a:pPr algn="ctr">
                        <a:defRPr lang="en-US" sz="1600" b="1" spc="-50">
                          <a:gradFill flip="none" rotWithShape="1">
                            <a:gsLst>
                              <a:gs pos="0">
                                <a:srgbClr val="F51482"/>
                              </a:gs>
                              <a:gs pos="71600">
                                <a:srgbClr val="E31842"/>
                              </a:gs>
                              <a:gs pos="100000">
                                <a:srgbClr val="DC1928"/>
                              </a:gs>
                            </a:gsLst>
                            <a:lin ang="0" scaled="1"/>
                            <a:tileRect/>
                          </a:gradFill>
                          <a:latin typeface="+mj-lt"/>
                        </a:defRPr>
                      </a:pPr>
                      <a:t>[VALUE]</a:t>
                    </a:fld>
                    <a:r>
                      <a:rPr lang="en-US"/>
                      <a:t>b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0" tIns="0" rIns="0" bIns="0" anchor="ctr" anchorCtr="0">
                  <a:noAutofit/>
                </a:bodyPr>
                <a:lstStyle/>
                <a:p>
                  <a:pPr algn="ctr">
                    <a:defRPr lang="en-US" sz="1600" b="1" i="0" u="none" strike="noStrike" kern="1200" spc="-50" baseline="0">
                      <a:gradFill flip="none" rotWithShape="1">
                        <a:gsLst>
                          <a:gs pos="0">
                            <a:srgbClr val="F51482"/>
                          </a:gs>
                          <a:gs pos="71600">
                            <a:srgbClr val="E31842"/>
                          </a:gs>
                          <a:gs pos="100000">
                            <a:srgbClr val="DC1928"/>
                          </a:gs>
                        </a:gsLst>
                        <a:lin ang="0" scaled="1"/>
                        <a:tileRect/>
                      </a:gra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934950184333191"/>
                      <c:h val="0.2024288992354346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82E-4D15-8252-354140AF96BE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82E-4D15-8252-354140AF96B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spc="-50" baseline="0">
                    <a:gradFill flip="none" rotWithShape="1">
                      <a:gsLst>
                        <a:gs pos="0">
                          <a:srgbClr val="F51482"/>
                        </a:gs>
                        <a:gs pos="71600">
                          <a:srgbClr val="E31842"/>
                        </a:gs>
                        <a:gs pos="100000">
                          <a:srgbClr val="DC1928"/>
                        </a:gs>
                      </a:gsLst>
                      <a:lin ang="0" scaled="1"/>
                      <a:tileRect/>
                    </a:gra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[$$-C09]#,##0.0</c:formatCode>
                <c:ptCount val="2"/>
                <c:pt idx="0">
                  <c:v>15.9</c:v>
                </c:pt>
                <c:pt idx="1">
                  <c:v>84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82E-4D15-8252-354140AF96B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68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501388888888886E-2"/>
          <c:y val="9.2072916666666671E-2"/>
          <c:w val="0.85158194444444446"/>
          <c:h val="0.8687715277777778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gradFill flip="none" rotWithShape="1">
                <a:gsLst>
                  <a:gs pos="2000">
                    <a:schemeClr val="accent3"/>
                  </a:gs>
                  <a:gs pos="100000">
                    <a:srgbClr val="FEDCEC"/>
                  </a:gs>
                </a:gsLst>
                <a:lin ang="13500000" scaled="1"/>
                <a:tileRect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82E-4D15-8252-354140AF96BE}"/>
              </c:ext>
            </c:extLst>
          </c:dPt>
          <c:dPt>
            <c:idx val="1"/>
            <c:bubble3D val="0"/>
            <c:spPr>
              <a:pattFill prst="ltDnDiag">
                <a:fgClr>
                  <a:schemeClr val="accent3"/>
                </a:fgClr>
                <a:bgClr>
                  <a:srgbClr val="FFFDFE"/>
                </a:bgClr>
              </a:patt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82E-4D15-8252-354140AF96BE}"/>
              </c:ext>
            </c:extLst>
          </c:dPt>
          <c:dLbls>
            <c:dLbl>
              <c:idx val="0"/>
              <c:layout>
                <c:manualLayout>
                  <c:x val="-0.11079376086310462"/>
                  <c:y val="0.32452260790628312"/>
                </c:manualLayout>
              </c:layout>
              <c:tx>
                <c:rich>
                  <a:bodyPr rot="0" spcFirstLastPara="1" vertOverflow="ellipsis" vert="horz" wrap="none" lIns="0" tIns="0" rIns="0" bIns="0" anchor="ctr" anchorCtr="0">
                    <a:noAutofit/>
                  </a:bodyPr>
                  <a:lstStyle/>
                  <a:p>
                    <a:pPr algn="ctr">
                      <a:defRPr lang="en-US" sz="1600" b="1" i="0" u="none" strike="noStrike" kern="1200" spc="-50" baseline="0">
                        <a:gradFill flip="none" rotWithShape="1">
                          <a:gsLst>
                            <a:gs pos="0">
                              <a:srgbClr val="F51482"/>
                            </a:gs>
                            <a:gs pos="71600">
                              <a:srgbClr val="E31842"/>
                            </a:gs>
                            <a:gs pos="100000">
                              <a:srgbClr val="DC1928"/>
                            </a:gs>
                          </a:gsLst>
                          <a:lin ang="0" scaled="1"/>
                          <a:tileRect/>
                        </a:gradFill>
                        <a:latin typeface="+mj-lt"/>
                        <a:ea typeface="+mn-ea"/>
                        <a:cs typeface="+mn-cs"/>
                      </a:defRPr>
                    </a:pPr>
                    <a:fld id="{0B258150-B496-4D31-A569-24E5D5EB81B1}" type="VALUE">
                      <a:rPr lang="en-US" smtClean="0"/>
                      <a:pPr algn="ctr">
                        <a:defRPr lang="en-US" sz="1600" b="1" spc="-50">
                          <a:gradFill flip="none" rotWithShape="1">
                            <a:gsLst>
                              <a:gs pos="0">
                                <a:srgbClr val="F51482"/>
                              </a:gs>
                              <a:gs pos="71600">
                                <a:srgbClr val="E31842"/>
                              </a:gs>
                              <a:gs pos="100000">
                                <a:srgbClr val="DC1928"/>
                              </a:gs>
                            </a:gsLst>
                            <a:lin ang="0" scaled="1"/>
                            <a:tileRect/>
                          </a:gradFill>
                          <a:latin typeface="+mj-lt"/>
                        </a:defRPr>
                      </a:pPr>
                      <a:t>[VALUE]</a:t>
                    </a:fld>
                    <a:r>
                      <a:rPr lang="en-US"/>
                      <a:t>b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0" tIns="0" rIns="0" bIns="0" anchor="ctr" anchorCtr="0">
                  <a:noAutofit/>
                </a:bodyPr>
                <a:lstStyle/>
                <a:p>
                  <a:pPr algn="ctr">
                    <a:defRPr lang="en-US" sz="1600" b="1" i="0" u="none" strike="noStrike" kern="1200" spc="-50" baseline="0">
                      <a:gradFill flip="none" rotWithShape="1">
                        <a:gsLst>
                          <a:gs pos="0">
                            <a:srgbClr val="F51482"/>
                          </a:gs>
                          <a:gs pos="71600">
                            <a:srgbClr val="E31842"/>
                          </a:gs>
                          <a:gs pos="100000">
                            <a:srgbClr val="DC1928"/>
                          </a:gs>
                        </a:gsLst>
                        <a:lin ang="0" scaled="1"/>
                        <a:tileRect/>
                      </a:gra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934950184333191"/>
                      <c:h val="0.2024288992354346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82E-4D15-8252-354140AF96BE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82E-4D15-8252-354140AF96B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spc="-50" baseline="0">
                    <a:gradFill flip="none" rotWithShape="1">
                      <a:gsLst>
                        <a:gs pos="0">
                          <a:srgbClr val="F51482"/>
                        </a:gs>
                        <a:gs pos="71600">
                          <a:srgbClr val="E31842"/>
                        </a:gs>
                        <a:gs pos="100000">
                          <a:srgbClr val="DC1928"/>
                        </a:gs>
                      </a:gsLst>
                      <a:lin ang="0" scaled="1"/>
                      <a:tileRect/>
                    </a:gra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[$$-C09]#,##0.0</c:formatCode>
                <c:ptCount val="2"/>
                <c:pt idx="0">
                  <c:v>9.1999999999999993</c:v>
                </c:pt>
                <c:pt idx="1">
                  <c:v>9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82E-4D15-8252-354140AF96B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68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501388888888886E-2"/>
          <c:y val="9.2072916666666671E-2"/>
          <c:w val="0.85158194444444446"/>
          <c:h val="0.8687715277777778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gradFill flip="none" rotWithShape="1">
                <a:gsLst>
                  <a:gs pos="2000">
                    <a:schemeClr val="accent3"/>
                  </a:gs>
                  <a:gs pos="100000">
                    <a:srgbClr val="FEDCEC"/>
                  </a:gs>
                </a:gsLst>
                <a:lin ang="13500000" scaled="1"/>
                <a:tileRect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82E-4D15-8252-354140AF96BE}"/>
              </c:ext>
            </c:extLst>
          </c:dPt>
          <c:dPt>
            <c:idx val="1"/>
            <c:bubble3D val="0"/>
            <c:spPr>
              <a:pattFill prst="ltDnDiag">
                <a:fgClr>
                  <a:schemeClr val="accent3"/>
                </a:fgClr>
                <a:bgClr>
                  <a:srgbClr val="FFFDFE"/>
                </a:bgClr>
              </a:patt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82E-4D15-8252-354140AF96BE}"/>
              </c:ext>
            </c:extLst>
          </c:dPt>
          <c:dLbls>
            <c:dLbl>
              <c:idx val="0"/>
              <c:layout>
                <c:manualLayout>
                  <c:x val="-0.11079376086310465"/>
                  <c:y val="0.32452260790628312"/>
                </c:manualLayout>
              </c:layout>
              <c:tx>
                <c:rich>
                  <a:bodyPr rot="0" spcFirstLastPara="1" vertOverflow="ellipsis" vert="horz" wrap="none" lIns="0" tIns="0" rIns="0" bIns="0" anchor="ctr" anchorCtr="0">
                    <a:noAutofit/>
                  </a:bodyPr>
                  <a:lstStyle/>
                  <a:p>
                    <a:pPr algn="ctr">
                      <a:defRPr lang="en-US" sz="1600" b="1" i="0" u="none" strike="noStrike" kern="1200" spc="-50" baseline="0">
                        <a:gradFill flip="none" rotWithShape="1">
                          <a:gsLst>
                            <a:gs pos="0">
                              <a:srgbClr val="F51482"/>
                            </a:gs>
                            <a:gs pos="71600">
                              <a:srgbClr val="E31842"/>
                            </a:gs>
                            <a:gs pos="100000">
                              <a:srgbClr val="DC1928"/>
                            </a:gs>
                          </a:gsLst>
                          <a:lin ang="0" scaled="1"/>
                          <a:tileRect/>
                        </a:gradFill>
                        <a:latin typeface="+mj-lt"/>
                        <a:ea typeface="+mn-ea"/>
                        <a:cs typeface="+mn-cs"/>
                      </a:defRPr>
                    </a:pPr>
                    <a:fld id="{0B258150-B496-4D31-A569-24E5D5EB81B1}" type="VALUE">
                      <a:rPr lang="en-US" smtClean="0"/>
                      <a:pPr algn="ctr">
                        <a:defRPr lang="en-US" sz="1600" b="1" spc="-50">
                          <a:gradFill flip="none" rotWithShape="1">
                            <a:gsLst>
                              <a:gs pos="0">
                                <a:srgbClr val="F51482"/>
                              </a:gs>
                              <a:gs pos="71600">
                                <a:srgbClr val="E31842"/>
                              </a:gs>
                              <a:gs pos="100000">
                                <a:srgbClr val="DC1928"/>
                              </a:gs>
                            </a:gsLst>
                            <a:lin ang="0" scaled="1"/>
                            <a:tileRect/>
                          </a:gradFill>
                          <a:latin typeface="+mj-lt"/>
                        </a:defRPr>
                      </a:pPr>
                      <a:t>[VALUE]</a:t>
                    </a:fld>
                    <a:r>
                      <a:rPr lang="en-US"/>
                      <a:t>b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0" tIns="0" rIns="0" bIns="0" anchor="ctr" anchorCtr="0">
                  <a:noAutofit/>
                </a:bodyPr>
                <a:lstStyle/>
                <a:p>
                  <a:pPr algn="ctr">
                    <a:defRPr lang="en-US" sz="1600" b="1" i="0" u="none" strike="noStrike" kern="1200" spc="-50" baseline="0">
                      <a:gradFill flip="none" rotWithShape="1">
                        <a:gsLst>
                          <a:gs pos="0">
                            <a:srgbClr val="F51482"/>
                          </a:gs>
                          <a:gs pos="71600">
                            <a:srgbClr val="E31842"/>
                          </a:gs>
                          <a:gs pos="100000">
                            <a:srgbClr val="DC1928"/>
                          </a:gs>
                        </a:gsLst>
                        <a:lin ang="0" scaled="1"/>
                        <a:tileRect/>
                      </a:gra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934950184333191"/>
                      <c:h val="0.2024288992354346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82E-4D15-8252-354140AF96BE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82E-4D15-8252-354140AF96B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spc="-50" baseline="0">
                    <a:gradFill flip="none" rotWithShape="1">
                      <a:gsLst>
                        <a:gs pos="0">
                          <a:srgbClr val="F51482"/>
                        </a:gs>
                        <a:gs pos="71600">
                          <a:srgbClr val="E31842"/>
                        </a:gs>
                        <a:gs pos="100000">
                          <a:srgbClr val="DC1928"/>
                        </a:gs>
                      </a:gsLst>
                      <a:lin ang="0" scaled="1"/>
                      <a:tileRect/>
                    </a:gra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[$$-C09]#,##0.0</c:formatCode>
                <c:ptCount val="2"/>
                <c:pt idx="0">
                  <c:v>9.6</c:v>
                </c:pt>
                <c:pt idx="1">
                  <c:v>9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82E-4D15-8252-354140AF96B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68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501388888888886E-2"/>
          <c:y val="9.2072916666666671E-2"/>
          <c:w val="0.85158194444444446"/>
          <c:h val="0.8687715277777778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gradFill flip="none" rotWithShape="1">
                <a:gsLst>
                  <a:gs pos="2000">
                    <a:schemeClr val="accent3"/>
                  </a:gs>
                  <a:gs pos="100000">
                    <a:srgbClr val="FEDCEC"/>
                  </a:gs>
                </a:gsLst>
                <a:lin ang="13500000" scaled="1"/>
                <a:tileRect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82E-4D15-8252-354140AF96BE}"/>
              </c:ext>
            </c:extLst>
          </c:dPt>
          <c:dPt>
            <c:idx val="1"/>
            <c:bubble3D val="0"/>
            <c:spPr>
              <a:pattFill prst="ltDnDiag">
                <a:fgClr>
                  <a:schemeClr val="accent3"/>
                </a:fgClr>
                <a:bgClr>
                  <a:srgbClr val="FFFDFE"/>
                </a:bgClr>
              </a:patt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82E-4D15-8252-354140AF96BE}"/>
              </c:ext>
            </c:extLst>
          </c:dPt>
          <c:dLbls>
            <c:dLbl>
              <c:idx val="0"/>
              <c:layout>
                <c:manualLayout>
                  <c:x val="-4.2170459559982373E-2"/>
                  <c:y val="0.33595984539016283"/>
                </c:manualLayout>
              </c:layout>
              <c:tx>
                <c:rich>
                  <a:bodyPr rot="0" spcFirstLastPara="1" vertOverflow="ellipsis" vert="horz" wrap="none" lIns="0" tIns="0" rIns="0" bIns="0" anchor="ctr" anchorCtr="0">
                    <a:noAutofit/>
                  </a:bodyPr>
                  <a:lstStyle/>
                  <a:p>
                    <a:pPr algn="ctr">
                      <a:defRPr lang="en-US" sz="1600" b="1" i="0" u="none" strike="noStrike" kern="1200" spc="-50" baseline="0">
                        <a:gradFill flip="none" rotWithShape="1">
                          <a:gsLst>
                            <a:gs pos="0">
                              <a:srgbClr val="F51482"/>
                            </a:gs>
                            <a:gs pos="71600">
                              <a:srgbClr val="E31842"/>
                            </a:gs>
                            <a:gs pos="100000">
                              <a:srgbClr val="DC1928"/>
                            </a:gs>
                          </a:gsLst>
                          <a:lin ang="0" scaled="1"/>
                          <a:tileRect/>
                        </a:gradFill>
                        <a:latin typeface="+mj-lt"/>
                        <a:ea typeface="+mn-ea"/>
                        <a:cs typeface="+mn-cs"/>
                      </a:defRPr>
                    </a:pPr>
                    <a:fld id="{0B258150-B496-4D31-A569-24E5D5EB81B1}" type="VALUE">
                      <a:rPr lang="en-US" smtClean="0"/>
                      <a:pPr algn="ctr">
                        <a:defRPr lang="en-US" sz="1600" b="1" spc="-50">
                          <a:gradFill flip="none" rotWithShape="1">
                            <a:gsLst>
                              <a:gs pos="0">
                                <a:srgbClr val="F51482"/>
                              </a:gs>
                              <a:gs pos="71600">
                                <a:srgbClr val="E31842"/>
                              </a:gs>
                              <a:gs pos="100000">
                                <a:srgbClr val="DC1928"/>
                              </a:gs>
                            </a:gsLst>
                            <a:lin ang="0" scaled="1"/>
                            <a:tileRect/>
                          </a:gradFill>
                          <a:latin typeface="+mj-lt"/>
                        </a:defRPr>
                      </a:pPr>
                      <a:t>[VALUE]</a:t>
                    </a:fld>
                    <a:r>
                      <a:rPr lang="en-US"/>
                      <a:t>b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0" tIns="0" rIns="0" bIns="0" anchor="ctr" anchorCtr="0">
                  <a:noAutofit/>
                </a:bodyPr>
                <a:lstStyle/>
                <a:p>
                  <a:pPr algn="ctr">
                    <a:defRPr lang="en-US" sz="1600" b="1" i="0" u="none" strike="noStrike" kern="1200" spc="-50" baseline="0">
                      <a:gradFill flip="none" rotWithShape="1">
                        <a:gsLst>
                          <a:gs pos="0">
                            <a:srgbClr val="F51482"/>
                          </a:gs>
                          <a:gs pos="71600">
                            <a:srgbClr val="E31842"/>
                          </a:gs>
                          <a:gs pos="100000">
                            <a:srgbClr val="DC1928"/>
                          </a:gs>
                        </a:gsLst>
                        <a:lin ang="0" scaled="1"/>
                        <a:tileRect/>
                      </a:gra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934950184333191"/>
                      <c:h val="0.2024288992354346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82E-4D15-8252-354140AF96BE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82E-4D15-8252-354140AF96B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spc="-50" baseline="0">
                    <a:gradFill flip="none" rotWithShape="1">
                      <a:gsLst>
                        <a:gs pos="0">
                          <a:srgbClr val="F51482"/>
                        </a:gs>
                        <a:gs pos="71600">
                          <a:srgbClr val="E31842"/>
                        </a:gs>
                        <a:gs pos="100000">
                          <a:srgbClr val="DC1928"/>
                        </a:gs>
                      </a:gsLst>
                      <a:lin ang="0" scaled="1"/>
                      <a:tileRect/>
                    </a:gra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[$$-C09]#,##0.0</c:formatCode>
                <c:ptCount val="2"/>
                <c:pt idx="0">
                  <c:v>4</c:v>
                </c:pt>
                <c:pt idx="1">
                  <c:v>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82E-4D15-8252-354140AF96B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68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501388888888886E-2"/>
          <c:y val="9.2072916666666671E-2"/>
          <c:w val="0.85158194444444446"/>
          <c:h val="0.8687715277777778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gradFill flip="none" rotWithShape="1">
                <a:gsLst>
                  <a:gs pos="2000">
                    <a:schemeClr val="accent3"/>
                  </a:gs>
                  <a:gs pos="100000">
                    <a:srgbClr val="FEDCEC"/>
                  </a:gs>
                </a:gsLst>
                <a:lin ang="13500000" scaled="1"/>
                <a:tileRect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82E-4D15-8252-354140AF96BE}"/>
              </c:ext>
            </c:extLst>
          </c:dPt>
          <c:dPt>
            <c:idx val="1"/>
            <c:bubble3D val="0"/>
            <c:spPr>
              <a:pattFill prst="ltDnDiag">
                <a:fgClr>
                  <a:schemeClr val="accent3"/>
                </a:fgClr>
                <a:bgClr>
                  <a:srgbClr val="FFFDFE"/>
                </a:bgClr>
              </a:patt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82E-4D15-8252-354140AF96BE}"/>
              </c:ext>
            </c:extLst>
          </c:dPt>
          <c:dLbls>
            <c:dLbl>
              <c:idx val="0"/>
              <c:layout>
                <c:manualLayout>
                  <c:x val="-9.9356543979250936E-2"/>
                  <c:y val="0.32452260790628312"/>
                </c:manualLayout>
              </c:layout>
              <c:tx>
                <c:rich>
                  <a:bodyPr rot="0" spcFirstLastPara="1" vertOverflow="ellipsis" vert="horz" wrap="none" lIns="0" tIns="0" rIns="0" bIns="0" anchor="ctr" anchorCtr="0">
                    <a:noAutofit/>
                  </a:bodyPr>
                  <a:lstStyle/>
                  <a:p>
                    <a:pPr algn="ctr">
                      <a:defRPr lang="en-US" sz="1600" b="1" i="0" u="none" strike="noStrike" kern="1200" spc="-50" baseline="0">
                        <a:gradFill flip="none" rotWithShape="1">
                          <a:gsLst>
                            <a:gs pos="0">
                              <a:srgbClr val="F51482"/>
                            </a:gs>
                            <a:gs pos="71600">
                              <a:srgbClr val="E31842"/>
                            </a:gs>
                            <a:gs pos="100000">
                              <a:srgbClr val="DC1928"/>
                            </a:gs>
                          </a:gsLst>
                          <a:lin ang="0" scaled="1"/>
                          <a:tileRect/>
                        </a:gradFill>
                        <a:latin typeface="+mj-lt"/>
                        <a:ea typeface="+mn-ea"/>
                        <a:cs typeface="+mn-cs"/>
                      </a:defRPr>
                    </a:pPr>
                    <a:fld id="{0B258150-B496-4D31-A569-24E5D5EB81B1}" type="VALUE">
                      <a:rPr lang="en-US" smtClean="0"/>
                      <a:pPr algn="ctr">
                        <a:defRPr lang="en-US" sz="1600" b="1" spc="-50">
                          <a:gradFill flip="none" rotWithShape="1">
                            <a:gsLst>
                              <a:gs pos="0">
                                <a:srgbClr val="F51482"/>
                              </a:gs>
                              <a:gs pos="71600">
                                <a:srgbClr val="E31842"/>
                              </a:gs>
                              <a:gs pos="100000">
                                <a:srgbClr val="DC1928"/>
                              </a:gs>
                            </a:gsLst>
                            <a:lin ang="0" scaled="1"/>
                            <a:tileRect/>
                          </a:gradFill>
                          <a:latin typeface="+mj-lt"/>
                        </a:defRPr>
                      </a:pPr>
                      <a:t>[VALUE]</a:t>
                    </a:fld>
                    <a:r>
                      <a:rPr lang="en-US"/>
                      <a:t>b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0" tIns="0" rIns="0" bIns="0" anchor="ctr" anchorCtr="0">
                  <a:noAutofit/>
                </a:bodyPr>
                <a:lstStyle/>
                <a:p>
                  <a:pPr algn="ctr">
                    <a:defRPr lang="en-US" sz="1600" b="1" i="0" u="none" strike="noStrike" kern="1200" spc="-50" baseline="0">
                      <a:gradFill flip="none" rotWithShape="1">
                        <a:gsLst>
                          <a:gs pos="0">
                            <a:srgbClr val="F51482"/>
                          </a:gs>
                          <a:gs pos="71600">
                            <a:srgbClr val="E31842"/>
                          </a:gs>
                          <a:gs pos="100000">
                            <a:srgbClr val="DC1928"/>
                          </a:gs>
                        </a:gsLst>
                        <a:lin ang="0" scaled="1"/>
                        <a:tileRect/>
                      </a:gra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934950184333191"/>
                      <c:h val="0.2024288992354346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82E-4D15-8252-354140AF96BE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82E-4D15-8252-354140AF96B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spc="-50" baseline="0">
                    <a:gradFill flip="none" rotWithShape="1">
                      <a:gsLst>
                        <a:gs pos="0">
                          <a:srgbClr val="F51482"/>
                        </a:gs>
                        <a:gs pos="71600">
                          <a:srgbClr val="E31842"/>
                        </a:gs>
                        <a:gs pos="100000">
                          <a:srgbClr val="DC1928"/>
                        </a:gs>
                      </a:gsLst>
                      <a:lin ang="0" scaled="1"/>
                      <a:tileRect/>
                    </a:gra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[$$-C09]#,##0.0</c:formatCode>
                <c:ptCount val="2"/>
                <c:pt idx="0">
                  <c:v>7.7</c:v>
                </c:pt>
                <c:pt idx="1">
                  <c:v>92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82E-4D15-8252-354140AF96B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68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11</cx:f>
        <cx:lvl ptCount="10">
          <cx:pt idx="0">Online Marketplaces</cx:pt>
          <cx:pt idx="1">Food &amp; Liquor</cx:pt>
          <cx:pt idx="2">Home &amp; Garden</cx:pt>
          <cx:pt idx="3">Consumer Electronics</cx:pt>
          <cx:pt idx="4">Department Stores</cx:pt>
          <cx:pt idx="5">Fashion &amp; Apparel</cx:pt>
          <cx:pt idx="6">Health &amp; Beauty</cx:pt>
          <cx:pt idx="7">Books, Stationery &amp; Mulitmedia</cx:pt>
          <cx:pt idx="8">Hobbies &amp; Recreational Goods</cx:pt>
          <cx:pt idx="9">Total </cx:pt>
        </cx:lvl>
      </cx:strDim>
      <cx:numDim type="val">
        <cx:f>Sheet1!$C$2:$C$11</cx:f>
        <cx:lvl ptCount="10" formatCode="0.0%">
          <cx:pt idx="0">0.39400000000000002</cx:pt>
          <cx:pt idx="1">0.19</cx:pt>
          <cx:pt idx="2">0.105</cx:pt>
          <cx:pt idx="3">0.073684308914719443</cx:pt>
          <cx:pt idx="4">0.056029643484913835</cx:pt>
          <cx:pt idx="5">0.051834511674682421</cx:pt>
          <cx:pt idx="6">0.048737437226772554</cx:pt>
          <cx:pt idx="7">0.048381171391230278</cx:pt>
          <cx:pt idx="8">0.032999021420381767</cx:pt>
          <cx:pt idx="9">1</cx:pt>
        </cx:lvl>
      </cx:numDim>
    </cx:data>
  </cx:chartData>
  <cx:chart>
    <cx:plotArea>
      <cx:plotAreaRegion>
        <cx:series layoutId="waterfall" uniqueId="{6C3ECC26-F66F-4A67-B211-9EFA4917F864}">
          <cx:spPr>
            <a:solidFill>
              <a:schemeClr val="accent2"/>
            </a:solidFill>
          </cx:spPr>
          <cx:dataPt idx="0">
            <cx:spPr>
              <a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a:blipFill>
            </cx:spPr>
          </cx:dataPt>
          <cx:dataPt idx="1">
            <cx:spPr>
              <a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a:blipFill>
            </cx:spPr>
          </cx:dataPt>
          <cx:dataPt idx="2">
            <cx:spPr>
              <a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a:blipFill>
            </cx:spPr>
          </cx:dataPt>
          <cx:dataPt idx="3">
            <cx:spPr>
              <a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a:blipFill>
            </cx:spPr>
          </cx:dataPt>
          <cx:dataPt idx="4">
            <cx:spPr>
              <a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a:blipFill>
            </cx:spPr>
          </cx:dataPt>
          <cx:dataPt idx="5">
            <cx:spPr>
              <a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a:blipFill>
            </cx:spPr>
          </cx:dataPt>
          <cx:dataPt idx="6">
            <cx:spPr>
              <a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a:blipFill>
            </cx:spPr>
          </cx:dataPt>
          <cx:dataPt idx="7">
            <cx:spPr>
              <a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a:blipFill>
            </cx:spPr>
          </cx:dataPt>
          <cx:dataPt idx="8">
            <cx:spPr>
              <a:blipFill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a:blipFill>
            </cx:spPr>
          </cx:dataPt>
          <cx:dataPt idx="9">
            <cx:spPr>
              <a:blipFill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  <a:stretch>
                  <a:fillRect/>
                </a:stretch>
              </a:blipFill>
            </cx:spPr>
          </cx:dataPt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200" b="1" spc="-50" baseline="0">
                    <a:solidFill>
                      <a:schemeClr val="tx1"/>
                    </a:solidFill>
                  </a:defRPr>
                </a:pPr>
                <a:endParaRPr lang="en-US" sz="1200" b="1" i="0" u="none" strike="noStrike" spc="-50" baseline="0">
                  <a:solidFill>
                    <a:schemeClr val="tx1"/>
                  </a:solidFill>
                  <a:latin typeface="AP Type Text"/>
                </a:endParaRPr>
              </a:p>
            </cx:txPr>
            <cx:dataLabel idx="9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800">
                      <a:gradFill>
                        <a:gsLst>
                          <a:gs pos="0">
                            <a:schemeClr val="accent3"/>
                          </a:gs>
                          <a:gs pos="90000">
                            <a:schemeClr val="accent2"/>
                          </a:gs>
                        </a:gsLst>
                        <a:lin ang="5400000" scaled="1"/>
                      </a:gradFill>
                    </a:defRPr>
                  </a:pPr>
                  <a:r>
                    <a:rPr lang="en-US" sz="1800" b="1" i="0" u="none" strike="noStrike" spc="-50" baseline="0">
                      <a:gradFill>
                        <a:gsLst>
                          <a:gs pos="0">
                            <a:schemeClr val="accent3"/>
                          </a:gs>
                          <a:gs pos="90000">
                            <a:schemeClr val="accent2"/>
                          </a:gs>
                        </a:gsLst>
                        <a:lin ang="5400000" scaled="1"/>
                      </a:gradFill>
                      <a:latin typeface="AP Type Text"/>
                    </a:rPr>
                    <a:t>100.0%</a:t>
                  </a:r>
                </a:p>
              </cx:txPr>
            </cx:dataLabel>
          </cx:dataLabels>
          <cx:dataId val="0"/>
          <cx:layoutPr>
            <cx:subtotals>
              <cx:idx val="9"/>
            </cx:subtotals>
          </cx:layoutPr>
        </cx:series>
      </cx:plotAreaRegion>
      <cx:axis id="0" hidden="1">
        <cx:catScaling gapWidth="0.699999988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200">
                <a:solidFill>
                  <a:schemeClr val="tx1"/>
                </a:solidFill>
              </a:defRPr>
            </a:pPr>
            <a:endParaRPr lang="en-US" sz="1200" b="0" i="0" u="none" strike="noStrike" baseline="0">
              <a:solidFill>
                <a:schemeClr val="tx1"/>
              </a:solidFill>
              <a:latin typeface="AP Type Text"/>
            </a:endParaRPr>
          </a:p>
        </cx:txPr>
      </cx:axis>
      <cx:axis id="1" hidden="1">
        <cx:valScaling min="0"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C4A6AB-1D22-4B14-B3CD-A64C49936CA6}" type="datetimeFigureOut">
              <a:rPr lang="en-AU" smtClean="0"/>
              <a:t>9/04/2025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2141C9-6F9F-4CE7-88C9-2D3F825347F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671026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B6DA7C-0B67-2F57-458F-B4F150FB0C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0F56C7-0E3D-2A45-1246-335B6D44AE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020E78B-5165-F4D8-002E-23AF6F353EA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E0536D-D4E6-77B2-EA14-F86A6EE8179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8AC732-7EB6-435E-8CF8-E3B2ECAE618F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 Type Text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 Type Text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81484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2750CE-03DA-F3E1-7A56-3FFEC4D376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7998DB-9AE8-81DD-6224-3FADE51CD9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258EB9F-A9DB-FCBF-7BC7-C62812DA6C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193323-67DF-4EC7-B45C-325D6BB0E88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8AC732-7EB6-435E-8CF8-E3B2ECAE618F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 Type Text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 Type Text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65877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7AA2C4-352D-3386-1C61-35253E73C7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A762BD5-8783-E291-789A-0E86F973D1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95FF63-0343-FCE5-46C1-6ACC51C8CB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608D66-CF23-95A0-2344-76D8EA62395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8AC732-7EB6-435E-8CF8-E3B2ECAE618F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 Type Text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 Type Text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21199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F7DA97-7C6B-5C37-2136-063833A372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BC74E6-5297-BD33-9546-DA20E795C40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9FE266E-0DCD-0D81-D8BC-6E68F7376C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167238-237E-5601-F4E1-300DB8715A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8AC732-7EB6-435E-8CF8-E3B2ECAE618F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 Type Text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 Type Text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08834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8B3C13-8830-4139-BEF1-7CD58A072009}" type="slidenum">
              <a:rPr lang="en-AU" smtClean="0"/>
              <a:pPr/>
              <a:t>1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466270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A2F31819-AF97-5FF6-03C3-9196BC1451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4EABEA33-DFC2-3CE1-218E-36D87FD0517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7594" y="-1"/>
            <a:ext cx="6024406" cy="6858000"/>
          </a:xfrm>
          <a:custGeom>
            <a:avLst/>
            <a:gdLst>
              <a:gd name="connsiteX0" fmla="*/ 1677601 w 6024406"/>
              <a:gd name="connsiteY0" fmla="*/ 0 h 6858000"/>
              <a:gd name="connsiteX1" fmla="*/ 5110006 w 6024406"/>
              <a:gd name="connsiteY1" fmla="*/ 0 h 6858000"/>
              <a:gd name="connsiteX2" fmla="*/ 6017264 w 6024406"/>
              <a:gd name="connsiteY2" fmla="*/ 0 h 6858000"/>
              <a:gd name="connsiteX3" fmla="*/ 6024406 w 6024406"/>
              <a:gd name="connsiteY3" fmla="*/ 0 h 6858000"/>
              <a:gd name="connsiteX4" fmla="*/ 6024406 w 6024406"/>
              <a:gd name="connsiteY4" fmla="*/ 6858000 h 6858000"/>
              <a:gd name="connsiteX5" fmla="*/ 5110006 w 6024406"/>
              <a:gd name="connsiteY5" fmla="*/ 6858000 h 6858000"/>
              <a:gd name="connsiteX6" fmla="*/ 5110006 w 6024406"/>
              <a:gd name="connsiteY6" fmla="*/ 6857999 h 6858000"/>
              <a:gd name="connsiteX7" fmla="*/ 24411 w 6024406"/>
              <a:gd name="connsiteY7" fmla="*/ 6857999 h 6858000"/>
              <a:gd name="connsiteX8" fmla="*/ 15640 w 6024406"/>
              <a:gd name="connsiteY8" fmla="*/ 6742657 h 6858000"/>
              <a:gd name="connsiteX9" fmla="*/ 0 w 6024406"/>
              <a:gd name="connsiteY9" fmla="*/ 6124088 h 6858000"/>
              <a:gd name="connsiteX10" fmla="*/ 1450797 w 6024406"/>
              <a:gd name="connsiteY10" fmla="*/ 39445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024406" h="6858000">
                <a:moveTo>
                  <a:pt x="1677601" y="0"/>
                </a:moveTo>
                <a:lnTo>
                  <a:pt x="5110006" y="0"/>
                </a:lnTo>
                <a:lnTo>
                  <a:pt x="6017264" y="0"/>
                </a:lnTo>
                <a:lnTo>
                  <a:pt x="6024406" y="0"/>
                </a:lnTo>
                <a:lnTo>
                  <a:pt x="6024406" y="6858000"/>
                </a:lnTo>
                <a:lnTo>
                  <a:pt x="5110006" y="6858000"/>
                </a:lnTo>
                <a:lnTo>
                  <a:pt x="5110006" y="6857999"/>
                </a:lnTo>
                <a:lnTo>
                  <a:pt x="24411" y="6857999"/>
                </a:lnTo>
                <a:lnTo>
                  <a:pt x="15640" y="6742657"/>
                </a:lnTo>
                <a:cubicBezTo>
                  <a:pt x="5255" y="6537779"/>
                  <a:pt x="0" y="6331547"/>
                  <a:pt x="0" y="6124088"/>
                </a:cubicBezTo>
                <a:cubicBezTo>
                  <a:pt x="0" y="4049500"/>
                  <a:pt x="525558" y="2097662"/>
                  <a:pt x="1450797" y="39445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E5E0691-C93E-4D61-8BB9-2D4B1F9B50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799" y="1273302"/>
            <a:ext cx="5920499" cy="1362076"/>
          </a:xfrm>
        </p:spPr>
        <p:txBody>
          <a:bodyPr anchor="t" anchorCtr="0"/>
          <a:lstStyle>
            <a:lvl1pPr algn="l">
              <a:defRPr sz="4200" spc="-200" baseline="0">
                <a:solidFill>
                  <a:schemeClr val="bg1"/>
                </a:solidFill>
              </a:defRPr>
            </a:lvl1pPr>
          </a:lstStyle>
          <a:p>
            <a:r>
              <a:rPr lang="en-AU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7EBD72-EB9F-48DA-81AD-08DDE37CD84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0" y="2862202"/>
            <a:ext cx="5760000" cy="258396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1600" b="1" spc="-5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AU" noProof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824C130-C324-E709-699E-47E57B86E6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4800" y="6152663"/>
            <a:ext cx="1884525" cy="400536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2474FAC-702E-67BA-08CA-07553FAC8F99}"/>
              </a:ext>
            </a:extLst>
          </p:cNvPr>
          <p:cNvCxnSpPr>
            <a:cxnSpLocks/>
          </p:cNvCxnSpPr>
          <p:nvPr userDrawn="1"/>
        </p:nvCxnSpPr>
        <p:spPr>
          <a:xfrm>
            <a:off x="334799" y="1273302"/>
            <a:ext cx="0" cy="2037216"/>
          </a:xfrm>
          <a:prstGeom prst="line">
            <a:avLst/>
          </a:prstGeom>
          <a:ln w="254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DB6650E-F4E9-0F04-23F2-086ABFAD5015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95300" y="3109342"/>
            <a:ext cx="5760000" cy="25920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 spc="-5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dat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876AEA4-87EA-5475-32D8-0482D9FF1DF2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600824" y="6419850"/>
            <a:ext cx="5255175" cy="237600"/>
          </a:xfrm>
        </p:spPr>
        <p:txBody>
          <a:bodyPr wrap="none" anchor="ctr" anchorCtr="0"/>
          <a:lstStyle>
            <a:lvl1pPr marL="0" indent="0" algn="r">
              <a:spcBef>
                <a:spcPts val="0"/>
              </a:spcBef>
              <a:buNone/>
              <a:defRPr sz="900" b="0" spc="-2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37056893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+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59A2AD-9E9B-466B-AD5B-0CB1B724FA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01" y="2867022"/>
            <a:ext cx="3744000" cy="3268089"/>
          </a:xfrm>
        </p:spPr>
        <p:txBody>
          <a:bodyPr/>
          <a:lstStyle/>
          <a:p>
            <a:pPr lvl="0"/>
            <a:r>
              <a:rPr lang="en-AU" noProof="0"/>
              <a:t>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5DB1DE-8D73-4AFA-95E5-57D6E62C0F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F650E-50B1-4B45-994D-90BB8789902A}" type="datetime1">
              <a:rPr lang="en-AU" smtClean="0"/>
              <a:t>9/04/2025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CDE5F3-3665-4461-B770-070BFE327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2025 Australia Pos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AE5D6D-B1E7-41CE-A1BF-283239250B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16B6A-336A-44FF-82DA-A4D1594FA055}" type="slidenum">
              <a:rPr lang="en-AU" smtClean="0"/>
              <a:t>‹#›</a:t>
            </a:fld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F9015D-D5F1-4A9B-9BEE-7C8A6482F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noProof="0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1839F4D-1F9C-3DE9-D2BA-D134751F590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24000" y="2867022"/>
            <a:ext cx="3744000" cy="3268090"/>
          </a:xfrm>
        </p:spPr>
        <p:txBody>
          <a:bodyPr/>
          <a:lstStyle/>
          <a:p>
            <a:pPr lvl="0"/>
            <a:r>
              <a:rPr lang="en-AU" noProof="0"/>
              <a:t>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497C77C-A17F-0BA6-6808-D07AB4F11F4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12001" y="2867022"/>
            <a:ext cx="3744000" cy="3268090"/>
          </a:xfrm>
        </p:spPr>
        <p:txBody>
          <a:bodyPr/>
          <a:lstStyle/>
          <a:p>
            <a:pPr lvl="0"/>
            <a:r>
              <a:rPr lang="en-AU" noProof="0"/>
              <a:t>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9E38341-912E-9F31-E5A9-A813B003DD0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248650" y="6326981"/>
            <a:ext cx="3607349" cy="280988"/>
          </a:xfrm>
        </p:spPr>
        <p:txBody>
          <a:bodyPr wrap="square" anchor="b" anchorCtr="0"/>
          <a:lstStyle>
            <a:lvl1pPr marL="0" indent="0" algn="r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Footnote text which may go over two lin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DC14854-37A9-C93C-56EB-6F0F5FB170D8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541232" y="1277777"/>
            <a:ext cx="3538770" cy="1260000"/>
          </a:xfrm>
        </p:spPr>
        <p:txBody>
          <a:bodyPr wrap="square" anchor="t" anchorCtr="0"/>
          <a:lstStyle>
            <a:lvl1pPr marL="0" indent="0" algn="l">
              <a:spcBef>
                <a:spcPts val="0"/>
              </a:spcBef>
              <a:buNone/>
              <a:defRPr sz="1600" b="0" spc="-5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an introductory paragraph which may be as long as five lines.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3D592F1-5753-A241-008D-13FC4C93FD58}"/>
              </a:ext>
            </a:extLst>
          </p:cNvPr>
          <p:cNvSpPr/>
          <p:nvPr userDrawn="1"/>
        </p:nvSpPr>
        <p:spPr>
          <a:xfrm>
            <a:off x="336000" y="1311111"/>
            <a:ext cx="25400" cy="1152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2"/>
              </a:gs>
              <a:gs pos="30000">
                <a:schemeClr val="accent2"/>
              </a:gs>
              <a:gs pos="100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029838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E01D5DCC-8EA7-EF31-FDFF-FB17B31ADFD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223999" y="1924048"/>
            <a:ext cx="3743997" cy="2486025"/>
          </a:xfrm>
          <a:prstGeom prst="roundRect">
            <a:avLst>
              <a:gd name="adj" fmla="val 5556"/>
            </a:avLst>
          </a:prstGeom>
          <a:solidFill>
            <a:schemeClr val="bg1"/>
          </a:solidFill>
          <a:ln w="6350">
            <a:solidFill>
              <a:schemeClr val="bg2"/>
            </a:solidFill>
          </a:ln>
        </p:spPr>
        <p:txBody>
          <a:bodyPr wrap="square" lIns="108000" rIns="108000" anchor="ctr" anchorCtr="0">
            <a:noAutofit/>
          </a:bodyPr>
          <a:lstStyle>
            <a:lvl1pPr marL="0" indent="0">
              <a:buNone/>
              <a:defRPr sz="100" b="0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 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F69E9B7-39BB-4C83-3066-BAE11402BCC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11996" y="1924048"/>
            <a:ext cx="3743997" cy="2486025"/>
          </a:xfrm>
          <a:prstGeom prst="roundRect">
            <a:avLst>
              <a:gd name="adj" fmla="val 5556"/>
            </a:avLst>
          </a:prstGeom>
          <a:solidFill>
            <a:schemeClr val="bg1"/>
          </a:solidFill>
          <a:ln w="6350">
            <a:solidFill>
              <a:schemeClr val="bg2"/>
            </a:solidFill>
          </a:ln>
        </p:spPr>
        <p:txBody>
          <a:bodyPr wrap="square" lIns="108000" rIns="108000" anchor="ctr" anchorCtr="0">
            <a:noAutofit/>
          </a:bodyPr>
          <a:lstStyle>
            <a:lvl1pPr marL="0" indent="0">
              <a:buNone/>
              <a:defRPr sz="100" b="0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 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FECB5F0D-9CC5-46EA-7299-A1BF87608A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35999" y="1924048"/>
            <a:ext cx="3743997" cy="2486025"/>
          </a:xfrm>
          <a:prstGeom prst="roundRect">
            <a:avLst>
              <a:gd name="adj" fmla="val 5556"/>
            </a:avLst>
          </a:prstGeom>
          <a:solidFill>
            <a:schemeClr val="bg1"/>
          </a:solidFill>
          <a:ln w="6350">
            <a:solidFill>
              <a:schemeClr val="bg2"/>
            </a:solidFill>
          </a:ln>
        </p:spPr>
        <p:txBody>
          <a:bodyPr wrap="square" lIns="108000" rIns="108000" anchor="ctr" anchorCtr="0">
            <a:noAutofit/>
          </a:bodyPr>
          <a:lstStyle>
            <a:lvl1pPr marL="0" indent="0">
              <a:buNone/>
              <a:defRPr sz="100" b="0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5DB1DE-8D73-4AFA-95E5-57D6E62C0F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6A21DD-EE35-4FCA-AF63-6CDC4DCCC93D}" type="datetime1">
              <a:rPr lang="en-AU" smtClean="0"/>
              <a:t>9/04/2025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CDE5F3-3665-4461-B770-070BFE327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2025 Australia Pos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AE5D6D-B1E7-41CE-A1BF-283239250B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16B6A-336A-44FF-82DA-A4D1594FA055}" type="slidenum">
              <a:rPr lang="en-AU" smtClean="0"/>
              <a:t>‹#›</a:t>
            </a:fld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F9015D-D5F1-4A9B-9BEE-7C8A6482F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noProof="0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9E38341-912E-9F31-E5A9-A813B003DD0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248650" y="6326981"/>
            <a:ext cx="3607349" cy="280988"/>
          </a:xfrm>
        </p:spPr>
        <p:txBody>
          <a:bodyPr wrap="square" anchor="b" anchorCtr="0"/>
          <a:lstStyle>
            <a:lvl1pPr marL="0" indent="0" algn="r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Footnote text which may go over two lin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9021412C-214F-4EDC-960D-AF2498CB5FB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6001" y="4601944"/>
            <a:ext cx="3744000" cy="15331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D9D2D31-7C90-63C3-EEA0-9BA6BD474B9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224000" y="4601944"/>
            <a:ext cx="3744000" cy="15331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9578D15-B371-0242-98C1-1730F4065DF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11999" y="4601944"/>
            <a:ext cx="3744000" cy="15331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362E593-ACB3-A913-00EA-2F589A73BF48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336001" y="1311112"/>
            <a:ext cx="3743998" cy="224726"/>
          </a:xfrm>
        </p:spPr>
        <p:txBody>
          <a:bodyPr wrap="square" anchor="t" anchorCtr="0"/>
          <a:lstStyle>
            <a:lvl1pPr marL="0" indent="0" algn="l">
              <a:spcBef>
                <a:spcPts val="0"/>
              </a:spcBef>
              <a:buNone/>
              <a:defRPr sz="1200" b="1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heading</a:t>
            </a:r>
          </a:p>
        </p:txBody>
      </p:sp>
      <p:sp>
        <p:nvSpPr>
          <p:cNvPr id="27" name="Chart Placeholder 26">
            <a:extLst>
              <a:ext uri="{FF2B5EF4-FFF2-40B4-BE49-F238E27FC236}">
                <a16:creationId xmlns:a16="http://schemas.microsoft.com/office/drawing/2014/main" id="{76D93CF4-2A60-825B-A509-CED2E049ED20}"/>
              </a:ext>
            </a:extLst>
          </p:cNvPr>
          <p:cNvSpPr>
            <a:spLocks noGrp="1"/>
          </p:cNvSpPr>
          <p:nvPr>
            <p:ph type="chart" sz="quarter" idx="37"/>
          </p:nvPr>
        </p:nvSpPr>
        <p:spPr>
          <a:xfrm>
            <a:off x="579865" y="2085976"/>
            <a:ext cx="3256270" cy="2162172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AU"/>
          </a:p>
        </p:txBody>
      </p:sp>
      <p:sp>
        <p:nvSpPr>
          <p:cNvPr id="28" name="Chart Placeholder 26">
            <a:extLst>
              <a:ext uri="{FF2B5EF4-FFF2-40B4-BE49-F238E27FC236}">
                <a16:creationId xmlns:a16="http://schemas.microsoft.com/office/drawing/2014/main" id="{2A6DEB3D-B5DA-21A4-9B7E-91E4728DFD1C}"/>
              </a:ext>
            </a:extLst>
          </p:cNvPr>
          <p:cNvSpPr>
            <a:spLocks noGrp="1"/>
          </p:cNvSpPr>
          <p:nvPr>
            <p:ph type="chart" sz="quarter" idx="38"/>
          </p:nvPr>
        </p:nvSpPr>
        <p:spPr>
          <a:xfrm>
            <a:off x="4467862" y="2085976"/>
            <a:ext cx="3256270" cy="2162172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AU"/>
          </a:p>
        </p:txBody>
      </p:sp>
      <p:sp>
        <p:nvSpPr>
          <p:cNvPr id="29" name="Chart Placeholder 26">
            <a:extLst>
              <a:ext uri="{FF2B5EF4-FFF2-40B4-BE49-F238E27FC236}">
                <a16:creationId xmlns:a16="http://schemas.microsoft.com/office/drawing/2014/main" id="{6C1DB2F1-37C7-7E64-0DCD-ADFC60E88DDA}"/>
              </a:ext>
            </a:extLst>
          </p:cNvPr>
          <p:cNvSpPr>
            <a:spLocks noGrp="1"/>
          </p:cNvSpPr>
          <p:nvPr>
            <p:ph type="chart" sz="quarter" idx="39"/>
          </p:nvPr>
        </p:nvSpPr>
        <p:spPr>
          <a:xfrm>
            <a:off x="8355859" y="2085976"/>
            <a:ext cx="3256270" cy="2162172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AU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BDDA804-7FE6-2EA4-40CB-DADDA13F1CFA}"/>
              </a:ext>
            </a:extLst>
          </p:cNvPr>
          <p:cNvSpPr>
            <a:spLocks noGrp="1"/>
          </p:cNvSpPr>
          <p:nvPr>
            <p:ph type="body" idx="40"/>
          </p:nvPr>
        </p:nvSpPr>
        <p:spPr>
          <a:xfrm>
            <a:off x="336001" y="1572690"/>
            <a:ext cx="3743998" cy="224726"/>
          </a:xfrm>
        </p:spPr>
        <p:txBody>
          <a:bodyPr wrap="square" anchor="t" anchorCtr="0"/>
          <a:lstStyle>
            <a:lvl1pPr marL="0" indent="0" algn="l">
              <a:spcBef>
                <a:spcPts val="0"/>
              </a:spcBef>
              <a:buNone/>
              <a:defRPr sz="12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AU" noProof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AF34596-45B6-3934-966B-F12C1726023B}"/>
              </a:ext>
            </a:extLst>
          </p:cNvPr>
          <p:cNvSpPr>
            <a:spLocks noGrp="1"/>
          </p:cNvSpPr>
          <p:nvPr>
            <p:ph type="body" idx="41" hasCustomPrompt="1"/>
          </p:nvPr>
        </p:nvSpPr>
        <p:spPr>
          <a:xfrm>
            <a:off x="4223998" y="1311112"/>
            <a:ext cx="3743998" cy="224726"/>
          </a:xfrm>
        </p:spPr>
        <p:txBody>
          <a:bodyPr wrap="square" anchor="t" anchorCtr="0"/>
          <a:lstStyle>
            <a:lvl1pPr marL="0" indent="0" algn="l">
              <a:spcBef>
                <a:spcPts val="0"/>
              </a:spcBef>
              <a:buNone/>
              <a:defRPr sz="1200" b="1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heading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742F393B-3710-35F1-1F3D-37E11BD1FAD5}"/>
              </a:ext>
            </a:extLst>
          </p:cNvPr>
          <p:cNvSpPr>
            <a:spLocks noGrp="1"/>
          </p:cNvSpPr>
          <p:nvPr>
            <p:ph type="body" idx="42"/>
          </p:nvPr>
        </p:nvSpPr>
        <p:spPr>
          <a:xfrm>
            <a:off x="4223998" y="1572690"/>
            <a:ext cx="3743998" cy="224726"/>
          </a:xfrm>
        </p:spPr>
        <p:txBody>
          <a:bodyPr wrap="square" anchor="t" anchorCtr="0"/>
          <a:lstStyle>
            <a:lvl1pPr marL="0" indent="0" algn="l">
              <a:spcBef>
                <a:spcPts val="0"/>
              </a:spcBef>
              <a:buNone/>
              <a:defRPr sz="12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AU" noProof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C9A5193E-9763-A3BA-FFAD-61F742801472}"/>
              </a:ext>
            </a:extLst>
          </p:cNvPr>
          <p:cNvSpPr>
            <a:spLocks noGrp="1"/>
          </p:cNvSpPr>
          <p:nvPr>
            <p:ph type="body" idx="43" hasCustomPrompt="1"/>
          </p:nvPr>
        </p:nvSpPr>
        <p:spPr>
          <a:xfrm>
            <a:off x="8111995" y="1311112"/>
            <a:ext cx="3743998" cy="224726"/>
          </a:xfrm>
        </p:spPr>
        <p:txBody>
          <a:bodyPr wrap="square" anchor="t" anchorCtr="0"/>
          <a:lstStyle>
            <a:lvl1pPr marL="0" indent="0" algn="l">
              <a:spcBef>
                <a:spcPts val="0"/>
              </a:spcBef>
              <a:buNone/>
              <a:defRPr sz="1200" b="1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heading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342DFB5-5390-51E5-BFFD-6804371A2B3F}"/>
              </a:ext>
            </a:extLst>
          </p:cNvPr>
          <p:cNvSpPr>
            <a:spLocks noGrp="1"/>
          </p:cNvSpPr>
          <p:nvPr>
            <p:ph type="body" idx="44"/>
          </p:nvPr>
        </p:nvSpPr>
        <p:spPr>
          <a:xfrm>
            <a:off x="8111995" y="1572690"/>
            <a:ext cx="3743998" cy="224726"/>
          </a:xfrm>
        </p:spPr>
        <p:txBody>
          <a:bodyPr wrap="square" anchor="t" anchorCtr="0"/>
          <a:lstStyle>
            <a:lvl1pPr marL="0" indent="0" algn="l">
              <a:spcBef>
                <a:spcPts val="0"/>
              </a:spcBef>
              <a:buNone/>
              <a:defRPr sz="12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35146151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5DB1DE-8D73-4AFA-95E5-57D6E62C0F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B264B3-9993-4CC8-AB71-DA5D93A861C6}" type="datetime1">
              <a:rPr lang="en-AU" smtClean="0"/>
              <a:t>9/04/2025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CDE5F3-3665-4461-B770-070BFE327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2025 Australia Pos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AE5D6D-B1E7-41CE-A1BF-283239250B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16B6A-336A-44FF-82DA-A4D1594FA055}" type="slidenum">
              <a:rPr lang="en-AU" smtClean="0"/>
              <a:t>‹#›</a:t>
            </a:fld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F9015D-D5F1-4A9B-9BEE-7C8A6482F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noProof="0"/>
              <a:t>Click to edit Master title style</a:t>
            </a: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E950D8B1-973E-7990-1CB6-84AA410E32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73279" y="1311112"/>
            <a:ext cx="5682722" cy="4824000"/>
          </a:xfrm>
          <a:prstGeom prst="roundRect">
            <a:avLst>
              <a:gd name="adj" fmla="val 3148"/>
            </a:avLst>
          </a:prstGeo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AU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0EFD840-4CA8-6965-829F-5268F4E07502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248650" y="6326981"/>
            <a:ext cx="3607349" cy="280988"/>
          </a:xfrm>
        </p:spPr>
        <p:txBody>
          <a:bodyPr wrap="square" anchor="b" anchorCtr="0"/>
          <a:lstStyle>
            <a:lvl1pPr marL="0" indent="0" algn="r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Footnote text which may go over two lin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821575D-BC38-7694-A3A4-B5FB0CBEE1A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6001" y="1311111"/>
            <a:ext cx="3744000" cy="4823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842109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5DB1DE-8D73-4AFA-95E5-57D6E62C0F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3E5A12-8EAC-49A7-BFA4-CC3485DD6D54}" type="datetime1">
              <a:rPr lang="en-AU" smtClean="0"/>
              <a:t>9/04/2025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CDE5F3-3665-4461-B770-070BFE327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2025 Australia Pos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AE5D6D-B1E7-41CE-A1BF-283239250B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16B6A-336A-44FF-82DA-A4D1594FA055}" type="slidenum">
              <a:rPr lang="en-AU" smtClean="0"/>
              <a:t>‹#›</a:t>
            </a:fld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F9015D-D5F1-4A9B-9BEE-7C8A6482F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noProof="0"/>
              <a:t>Click to edit Master title style</a:t>
            </a: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E950D8B1-973E-7990-1CB6-84AA410E32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73279" y="1311112"/>
            <a:ext cx="5682722" cy="4824000"/>
          </a:xfrm>
          <a:prstGeom prst="roundRect">
            <a:avLst>
              <a:gd name="adj" fmla="val 3148"/>
            </a:avLst>
          </a:prstGeo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AU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0EFD840-4CA8-6965-829F-5268F4E07502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248650" y="6326981"/>
            <a:ext cx="3607349" cy="280988"/>
          </a:xfrm>
        </p:spPr>
        <p:txBody>
          <a:bodyPr wrap="square" anchor="b" anchorCtr="0"/>
          <a:lstStyle>
            <a:lvl1pPr marL="0" indent="0" algn="r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Footnote text which may go over two lin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018666-99EB-5070-51EA-EFCE346397D3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541232" y="1277777"/>
            <a:ext cx="3538770" cy="1260000"/>
          </a:xfrm>
        </p:spPr>
        <p:txBody>
          <a:bodyPr wrap="square" anchor="t" anchorCtr="0"/>
          <a:lstStyle>
            <a:lvl1pPr marL="0" indent="0" algn="l">
              <a:spcBef>
                <a:spcPts val="0"/>
              </a:spcBef>
              <a:buNone/>
              <a:defRPr sz="1600" b="0" spc="-5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an introductory paragraph which may be as long as five lines.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95DF9AF-8D88-308E-B4B2-D76169305A3C}"/>
              </a:ext>
            </a:extLst>
          </p:cNvPr>
          <p:cNvSpPr/>
          <p:nvPr userDrawn="1"/>
        </p:nvSpPr>
        <p:spPr>
          <a:xfrm>
            <a:off x="336000" y="1311111"/>
            <a:ext cx="25400" cy="1152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2"/>
              </a:gs>
              <a:gs pos="30000">
                <a:schemeClr val="accent2"/>
              </a:gs>
              <a:gs pos="100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160D582-52D1-BB41-8C8A-E4A48C96244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6001" y="2867023"/>
            <a:ext cx="3744000" cy="32680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159650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617E263-0D13-B9D7-5CC1-9F533164032A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173279" y="1304925"/>
            <a:ext cx="1781175" cy="1543050"/>
          </a:xfrm>
          <a:prstGeom prst="roundRect">
            <a:avLst>
              <a:gd name="adj" fmla="val 9877"/>
            </a:avLst>
          </a:prstGeom>
          <a:gradFill flip="none" rotWithShape="1">
            <a:gsLst>
              <a:gs pos="75000">
                <a:schemeClr val="accent1"/>
              </a:gs>
              <a:gs pos="0">
                <a:schemeClr val="accent2"/>
              </a:gs>
              <a:gs pos="100000">
                <a:schemeClr val="accent1"/>
              </a:gs>
            </a:gsLst>
            <a:lin ang="5400000" scaled="1"/>
            <a:tileRect/>
          </a:gradFill>
        </p:spPr>
        <p:txBody>
          <a:bodyPr lIns="72000" tIns="36000" rIns="72000" bIns="36000" anchor="t" anchorCtr="0"/>
          <a:lstStyle>
            <a:lvl1pPr marL="0" indent="0" algn="r">
              <a:spcBef>
                <a:spcPts val="0"/>
              </a:spcBef>
              <a:buNone/>
              <a:defRPr sz="2400" b="1" spc="-10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5DB1DE-8D73-4AFA-95E5-57D6E62C0F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02FBB-005D-4D94-809D-0E935CA30A7C}" type="datetime1">
              <a:rPr lang="en-AU" smtClean="0"/>
              <a:t>9/04/2025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CDE5F3-3665-4461-B770-070BFE327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2025 Australia Pos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AE5D6D-B1E7-41CE-A1BF-283239250B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16B6A-336A-44FF-82DA-A4D1594FA055}" type="slidenum">
              <a:rPr lang="en-AU" smtClean="0"/>
              <a:t>‹#›</a:t>
            </a:fld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F9015D-D5F1-4A9B-9BEE-7C8A6482F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noProof="0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D7AF7A2-A439-4365-ACEF-BA21C47242E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10077449" y="1304925"/>
            <a:ext cx="1781175" cy="1543050"/>
          </a:xfrm>
          <a:prstGeom prst="roundRect">
            <a:avLst>
              <a:gd name="adj" fmla="val 9877"/>
            </a:avLst>
          </a:prstGeom>
          <a:gradFill flip="none" rotWithShape="1">
            <a:gsLst>
              <a:gs pos="75000">
                <a:schemeClr val="accent5"/>
              </a:gs>
              <a:gs pos="0">
                <a:schemeClr val="accent3"/>
              </a:gs>
              <a:gs pos="100000">
                <a:schemeClr val="accent5"/>
              </a:gs>
            </a:gsLst>
            <a:lin ang="5400000" scaled="1"/>
            <a:tileRect/>
          </a:gradFill>
        </p:spPr>
        <p:txBody>
          <a:bodyPr lIns="72000" tIns="36000" rIns="72000" bIns="36000" anchor="t" anchorCtr="0"/>
          <a:lstStyle>
            <a:lvl1pPr marL="0" indent="0" algn="r">
              <a:spcBef>
                <a:spcPts val="0"/>
              </a:spcBef>
              <a:buNone/>
              <a:defRPr sz="2400" b="1" spc="-10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Tex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69DD2D6-A18B-B7A8-C7EB-044F11251F9F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0218825" y="2447925"/>
            <a:ext cx="1503784" cy="280502"/>
          </a:xfrm>
        </p:spPr>
        <p:txBody>
          <a:bodyPr wrap="square" anchor="b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900" b="0" spc="-2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text which may go over multiple lin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71B4F07E-7451-8739-8C2D-69FB1135A46E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314655" y="2447925"/>
            <a:ext cx="1503784" cy="280502"/>
          </a:xfrm>
        </p:spPr>
        <p:txBody>
          <a:bodyPr wrap="square" anchor="b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900" b="0" spc="-2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text which may go over multiple lin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9BA9098-4486-1FAF-C6F9-CB1CD7904D03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8120925" y="1304925"/>
            <a:ext cx="1781175" cy="1543050"/>
          </a:xfrm>
          <a:prstGeom prst="roundRect">
            <a:avLst>
              <a:gd name="adj" fmla="val 9877"/>
            </a:avLst>
          </a:prstGeom>
          <a:solidFill>
            <a:schemeClr val="bg1"/>
          </a:solidFill>
          <a:ln w="6350">
            <a:solidFill>
              <a:schemeClr val="bg2"/>
            </a:solidFill>
          </a:ln>
        </p:spPr>
        <p:txBody>
          <a:bodyPr lIns="72000" tIns="36000" rIns="72000" bIns="36000" anchor="t" anchorCtr="0"/>
          <a:lstStyle>
            <a:lvl1pPr marL="0" indent="0" algn="r">
              <a:spcBef>
                <a:spcPts val="0"/>
              </a:spcBef>
              <a:buNone/>
              <a:defRPr sz="2400" b="1" spc="-100" baseline="0">
                <a:gradFill flip="none" rotWithShape="1">
                  <a:gsLst>
                    <a:gs pos="75000">
                      <a:schemeClr val="accent2"/>
                    </a:gs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Text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8DF3C73-F8A7-70A8-0E67-376FAEDFA2B2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8262301" y="2447925"/>
            <a:ext cx="1503784" cy="280502"/>
          </a:xfrm>
        </p:spPr>
        <p:txBody>
          <a:bodyPr wrap="square" anchor="b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text which may go over multiple lin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68BCCF9-046E-75E2-34E6-55B5DEFEEFB8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10077449" y="4596299"/>
            <a:ext cx="1781175" cy="1543050"/>
          </a:xfrm>
          <a:prstGeom prst="roundRect">
            <a:avLst>
              <a:gd name="adj" fmla="val 9877"/>
            </a:avLst>
          </a:prstGeom>
          <a:gradFill flip="none" rotWithShape="1">
            <a:gsLst>
              <a:gs pos="75000">
                <a:schemeClr val="accent6"/>
              </a:gs>
              <a:gs pos="0">
                <a:schemeClr val="tx2"/>
              </a:gs>
              <a:gs pos="100000">
                <a:schemeClr val="accent6"/>
              </a:gs>
            </a:gsLst>
            <a:lin ang="5400000" scaled="1"/>
            <a:tileRect/>
          </a:gradFill>
        </p:spPr>
        <p:txBody>
          <a:bodyPr lIns="72000" tIns="36000" rIns="72000" bIns="36000" anchor="t" anchorCtr="0"/>
          <a:lstStyle>
            <a:lvl1pPr marL="0" indent="0" algn="r">
              <a:spcBef>
                <a:spcPts val="0"/>
              </a:spcBef>
              <a:buNone/>
              <a:defRPr sz="2400" b="1" spc="-1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Text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51A8D80-35EF-946F-B0B8-A9242F71FF43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10218825" y="5739299"/>
            <a:ext cx="1503784" cy="280502"/>
          </a:xfrm>
        </p:spPr>
        <p:txBody>
          <a:bodyPr wrap="square" anchor="b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text which may go over multiple lin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9AE5BE9-B746-3035-5E09-A46D37AC09BA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6173279" y="4596299"/>
            <a:ext cx="1781175" cy="1543050"/>
          </a:xfrm>
          <a:prstGeom prst="roundRect">
            <a:avLst>
              <a:gd name="adj" fmla="val 9877"/>
            </a:avLst>
          </a:prstGeom>
          <a:gradFill flip="none" rotWithShape="1">
            <a:gsLst>
              <a:gs pos="75000">
                <a:srgbClr val="FEDCEC"/>
              </a:gs>
              <a:gs pos="0">
                <a:schemeClr val="accent3"/>
              </a:gs>
              <a:gs pos="100000">
                <a:srgbClr val="FEDCEC"/>
              </a:gs>
            </a:gsLst>
            <a:lin ang="5400000" scaled="1"/>
            <a:tileRect/>
          </a:gradFill>
        </p:spPr>
        <p:txBody>
          <a:bodyPr lIns="72000" tIns="36000" rIns="72000" bIns="36000" anchor="t" anchorCtr="0"/>
          <a:lstStyle>
            <a:lvl1pPr marL="0" indent="0" algn="r">
              <a:spcBef>
                <a:spcPts val="0"/>
              </a:spcBef>
              <a:buNone/>
              <a:defRPr sz="2400" b="1" spc="-1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Tex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24D1342-2F50-4F9E-48AE-FA99E742C0B0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314655" y="5739299"/>
            <a:ext cx="1503784" cy="280502"/>
          </a:xfrm>
        </p:spPr>
        <p:txBody>
          <a:bodyPr wrap="square" anchor="b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text which may go over multiple lin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40B8821-C750-2A62-F6A6-F54AB302AF33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120925" y="4596299"/>
            <a:ext cx="1781175" cy="1543050"/>
          </a:xfrm>
          <a:prstGeom prst="roundRect">
            <a:avLst>
              <a:gd name="adj" fmla="val 9877"/>
            </a:avLst>
          </a:prstGeom>
          <a:solidFill>
            <a:schemeClr val="bg1"/>
          </a:solidFill>
          <a:ln w="6350">
            <a:solidFill>
              <a:schemeClr val="bg2"/>
            </a:solidFill>
          </a:ln>
        </p:spPr>
        <p:txBody>
          <a:bodyPr lIns="72000" tIns="36000" rIns="72000" bIns="36000" anchor="t" anchorCtr="0"/>
          <a:lstStyle>
            <a:lvl1pPr marL="0" indent="0" algn="r">
              <a:spcBef>
                <a:spcPts val="0"/>
              </a:spcBef>
              <a:buNone/>
              <a:defRPr lang="en-AU" sz="2400" b="1" kern="1200" spc="-100" baseline="0" noProof="0" dirty="0">
                <a:gradFill flip="none" rotWithShape="1">
                  <a:gsLst>
                    <a:gs pos="75000">
                      <a:schemeClr val="accent2"/>
                    </a:gs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AU" noProof="0"/>
              <a:t>Tex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F643FB5-EEDE-A8EC-7312-AB963C5E5435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262301" y="5739299"/>
            <a:ext cx="1503784" cy="280502"/>
          </a:xfrm>
        </p:spPr>
        <p:txBody>
          <a:bodyPr wrap="square" anchor="b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text which may go over multiple lines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FE21188-6CAC-76A6-D1D3-E89A413D6973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10077449" y="2950612"/>
            <a:ext cx="1781175" cy="1543050"/>
          </a:xfrm>
          <a:prstGeom prst="roundRect">
            <a:avLst>
              <a:gd name="adj" fmla="val 9877"/>
            </a:avLst>
          </a:prstGeom>
          <a:solidFill>
            <a:schemeClr val="bg1"/>
          </a:solidFill>
          <a:ln w="6350">
            <a:solidFill>
              <a:schemeClr val="bg2"/>
            </a:solidFill>
          </a:ln>
        </p:spPr>
        <p:txBody>
          <a:bodyPr lIns="72000" tIns="36000" rIns="72000" bIns="36000" anchor="t" anchorCtr="0"/>
          <a:lstStyle>
            <a:lvl1pPr marL="0" indent="0" algn="r">
              <a:spcBef>
                <a:spcPts val="0"/>
              </a:spcBef>
              <a:buNone/>
              <a:defRPr lang="en-AU" sz="2400" b="1" kern="1200" spc="-100" baseline="0" noProof="0" dirty="0">
                <a:gradFill flip="none" rotWithShape="1">
                  <a:gsLst>
                    <a:gs pos="75000">
                      <a:schemeClr val="accent2"/>
                    </a:gs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AU" noProof="0"/>
              <a:t>Text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224B279-AD6C-5C7B-6D19-6CD356E9152B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10218825" y="4093612"/>
            <a:ext cx="1503784" cy="280502"/>
          </a:xfrm>
        </p:spPr>
        <p:txBody>
          <a:bodyPr wrap="square" anchor="b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text which may go over multiple lin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75345F2-9E4E-7896-054B-815A6262E42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173279" y="2950612"/>
            <a:ext cx="1781175" cy="1543050"/>
          </a:xfrm>
          <a:prstGeom prst="roundRect">
            <a:avLst>
              <a:gd name="adj" fmla="val 9877"/>
            </a:avLst>
          </a:prstGeom>
          <a:solidFill>
            <a:schemeClr val="bg1"/>
          </a:solidFill>
          <a:ln w="6350">
            <a:solidFill>
              <a:schemeClr val="bg2"/>
            </a:solidFill>
          </a:ln>
        </p:spPr>
        <p:txBody>
          <a:bodyPr lIns="72000" tIns="36000" rIns="72000" bIns="36000" anchor="t" anchorCtr="0"/>
          <a:lstStyle>
            <a:lvl1pPr marL="0" indent="0" algn="r">
              <a:spcBef>
                <a:spcPts val="0"/>
              </a:spcBef>
              <a:buNone/>
              <a:defRPr lang="en-AU" sz="2400" b="1" kern="1200" spc="-100" baseline="0" noProof="0" dirty="0">
                <a:gradFill flip="none" rotWithShape="1">
                  <a:gsLst>
                    <a:gs pos="75000">
                      <a:schemeClr val="accent2"/>
                    </a:gs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AU" noProof="0"/>
              <a:t>Tex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21CFC424-DA3E-C14B-ED18-7D0D446BAAC7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6314655" y="4093612"/>
            <a:ext cx="1503784" cy="280502"/>
          </a:xfrm>
        </p:spPr>
        <p:txBody>
          <a:bodyPr wrap="square" anchor="b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text which may go over multiple lin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3416A21E-59D8-0969-C699-D065EF7957D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8120925" y="2950612"/>
            <a:ext cx="1781175" cy="1543050"/>
          </a:xfrm>
          <a:prstGeom prst="roundRect">
            <a:avLst>
              <a:gd name="adj" fmla="val 9877"/>
            </a:avLst>
          </a:prstGeom>
          <a:gradFill flip="none" rotWithShape="1">
            <a:gsLst>
              <a:gs pos="75000">
                <a:schemeClr val="accent2"/>
              </a:gs>
              <a:gs pos="0">
                <a:schemeClr val="accent3"/>
              </a:gs>
              <a:gs pos="100000">
                <a:schemeClr val="accent2"/>
              </a:gs>
            </a:gsLst>
            <a:lin ang="5400000" scaled="1"/>
            <a:tileRect/>
          </a:gradFill>
        </p:spPr>
        <p:txBody>
          <a:bodyPr lIns="72000" tIns="36000" rIns="72000" bIns="36000" anchor="t" anchorCtr="0"/>
          <a:lstStyle>
            <a:lvl1pPr marL="0" indent="0" algn="r">
              <a:spcBef>
                <a:spcPts val="0"/>
              </a:spcBef>
              <a:buNone/>
              <a:defRPr sz="2400" b="1" spc="-10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Tex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17C027A-614A-237E-A589-5C72614AC17D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8262301" y="4093612"/>
            <a:ext cx="1503784" cy="280502"/>
          </a:xfrm>
        </p:spPr>
        <p:txBody>
          <a:bodyPr wrap="square" anchor="b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900" b="0" spc="-2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text which may go over multiple lin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64E387A-0C71-E140-7987-A32F2B9BD4A2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8248650" y="6326981"/>
            <a:ext cx="3607349" cy="280988"/>
          </a:xfrm>
        </p:spPr>
        <p:txBody>
          <a:bodyPr wrap="square" anchor="b" anchorCtr="0"/>
          <a:lstStyle>
            <a:lvl1pPr marL="0" indent="0" algn="r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Footnote text which may go over two lines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2DDA73EC-4312-879D-BDCD-B5E620CDB70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6001" y="1304925"/>
            <a:ext cx="3744000" cy="483018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896514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+ Statis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617E263-0D13-B9D7-5CC1-9F533164032A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173279" y="1304925"/>
            <a:ext cx="1781175" cy="1543050"/>
          </a:xfrm>
          <a:prstGeom prst="roundRect">
            <a:avLst>
              <a:gd name="adj" fmla="val 9877"/>
            </a:avLst>
          </a:prstGeom>
          <a:gradFill flip="none" rotWithShape="1">
            <a:gsLst>
              <a:gs pos="75000">
                <a:schemeClr val="accent1"/>
              </a:gs>
              <a:gs pos="0">
                <a:schemeClr val="accent2"/>
              </a:gs>
              <a:gs pos="100000">
                <a:schemeClr val="accent1"/>
              </a:gs>
            </a:gsLst>
            <a:lin ang="5400000" scaled="1"/>
            <a:tileRect/>
          </a:gradFill>
        </p:spPr>
        <p:txBody>
          <a:bodyPr lIns="72000" tIns="36000" rIns="72000" bIns="36000" anchor="t" anchorCtr="0"/>
          <a:lstStyle>
            <a:lvl1pPr marL="0" indent="0" algn="r">
              <a:spcBef>
                <a:spcPts val="0"/>
              </a:spcBef>
              <a:buNone/>
              <a:defRPr sz="2400" b="1" spc="-10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Text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D7AF7A2-A439-4365-ACEF-BA21C47242E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10077449" y="1304925"/>
            <a:ext cx="1781175" cy="1543050"/>
          </a:xfrm>
          <a:prstGeom prst="roundRect">
            <a:avLst>
              <a:gd name="adj" fmla="val 9877"/>
            </a:avLst>
          </a:prstGeom>
          <a:gradFill flip="none" rotWithShape="1">
            <a:gsLst>
              <a:gs pos="75000">
                <a:schemeClr val="accent5"/>
              </a:gs>
              <a:gs pos="0">
                <a:schemeClr val="accent3"/>
              </a:gs>
              <a:gs pos="100000">
                <a:schemeClr val="accent5"/>
              </a:gs>
            </a:gsLst>
            <a:lin ang="5400000" scaled="1"/>
            <a:tileRect/>
          </a:gradFill>
        </p:spPr>
        <p:txBody>
          <a:bodyPr lIns="72000" tIns="36000" rIns="72000" bIns="36000" anchor="t" anchorCtr="0"/>
          <a:lstStyle>
            <a:lvl1pPr marL="0" indent="0" algn="r">
              <a:spcBef>
                <a:spcPts val="0"/>
              </a:spcBef>
              <a:buNone/>
              <a:defRPr sz="2400" b="1" spc="-10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Text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68BCCF9-046E-75E2-34E6-55B5DEFEEFB8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10077449" y="4596299"/>
            <a:ext cx="1781175" cy="1543050"/>
          </a:xfrm>
          <a:prstGeom prst="roundRect">
            <a:avLst>
              <a:gd name="adj" fmla="val 9877"/>
            </a:avLst>
          </a:prstGeom>
          <a:gradFill flip="none" rotWithShape="1">
            <a:gsLst>
              <a:gs pos="75000">
                <a:schemeClr val="accent6"/>
              </a:gs>
              <a:gs pos="0">
                <a:schemeClr val="tx2"/>
              </a:gs>
              <a:gs pos="100000">
                <a:schemeClr val="accent6"/>
              </a:gs>
            </a:gsLst>
            <a:lin ang="5400000" scaled="1"/>
            <a:tileRect/>
          </a:gradFill>
        </p:spPr>
        <p:txBody>
          <a:bodyPr lIns="72000" tIns="36000" rIns="72000" bIns="36000" anchor="t" anchorCtr="0"/>
          <a:lstStyle>
            <a:lvl1pPr marL="0" indent="0" algn="r">
              <a:spcBef>
                <a:spcPts val="0"/>
              </a:spcBef>
              <a:buNone/>
              <a:defRPr sz="2400" b="1" spc="-1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Tex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9AE5BE9-B746-3035-5E09-A46D37AC09BA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6173279" y="4596299"/>
            <a:ext cx="1781175" cy="1543050"/>
          </a:xfrm>
          <a:prstGeom prst="roundRect">
            <a:avLst>
              <a:gd name="adj" fmla="val 9877"/>
            </a:avLst>
          </a:prstGeom>
          <a:gradFill flip="none" rotWithShape="1">
            <a:gsLst>
              <a:gs pos="75000">
                <a:srgbClr val="FEDCEC"/>
              </a:gs>
              <a:gs pos="0">
                <a:schemeClr val="accent3"/>
              </a:gs>
              <a:gs pos="100000">
                <a:srgbClr val="FEDCEC"/>
              </a:gs>
            </a:gsLst>
            <a:lin ang="5400000" scaled="1"/>
            <a:tileRect/>
          </a:gradFill>
        </p:spPr>
        <p:txBody>
          <a:bodyPr lIns="72000" tIns="36000" rIns="72000" bIns="36000" anchor="t" anchorCtr="0"/>
          <a:lstStyle>
            <a:lvl1pPr marL="0" indent="0" algn="r">
              <a:spcBef>
                <a:spcPts val="0"/>
              </a:spcBef>
              <a:buNone/>
              <a:defRPr sz="2400" b="1" spc="-1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Tex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3416A21E-59D8-0969-C699-D065EF7957D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8120925" y="2950612"/>
            <a:ext cx="1781175" cy="1543050"/>
          </a:xfrm>
          <a:prstGeom prst="roundRect">
            <a:avLst>
              <a:gd name="adj" fmla="val 9877"/>
            </a:avLst>
          </a:prstGeom>
          <a:gradFill flip="none" rotWithShape="1">
            <a:gsLst>
              <a:gs pos="75000">
                <a:schemeClr val="accent2"/>
              </a:gs>
              <a:gs pos="0">
                <a:schemeClr val="accent3"/>
              </a:gs>
              <a:gs pos="100000">
                <a:schemeClr val="accent2"/>
              </a:gs>
            </a:gsLst>
            <a:lin ang="5400000" scaled="1"/>
            <a:tileRect/>
          </a:gradFill>
        </p:spPr>
        <p:txBody>
          <a:bodyPr lIns="72000" tIns="36000" rIns="72000" bIns="36000" anchor="t" anchorCtr="0"/>
          <a:lstStyle>
            <a:lvl1pPr marL="0" indent="0" algn="r">
              <a:spcBef>
                <a:spcPts val="0"/>
              </a:spcBef>
              <a:buNone/>
              <a:defRPr sz="2400" b="1" spc="-10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5DB1DE-8D73-4AFA-95E5-57D6E62C0F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FAC4D6-C43C-4D41-932D-411A1B9D8353}" type="datetime1">
              <a:rPr lang="en-AU" smtClean="0"/>
              <a:t>9/04/2025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CDE5F3-3665-4461-B770-070BFE327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2025 Australia Pos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AE5D6D-B1E7-41CE-A1BF-283239250B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16B6A-336A-44FF-82DA-A4D1594FA055}" type="slidenum">
              <a:rPr lang="en-AU" smtClean="0"/>
              <a:t>‹#›</a:t>
            </a:fld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F9015D-D5F1-4A9B-9BEE-7C8A6482F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269081"/>
            <a:ext cx="9000000" cy="792000"/>
          </a:xfrm>
        </p:spPr>
        <p:txBody>
          <a:bodyPr/>
          <a:lstStyle/>
          <a:p>
            <a:r>
              <a:rPr lang="en-AU" noProof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69DD2D6-A18B-B7A8-C7EB-044F11251F9F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0218825" y="2447925"/>
            <a:ext cx="1503784" cy="280502"/>
          </a:xfrm>
        </p:spPr>
        <p:txBody>
          <a:bodyPr wrap="square" anchor="b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900" b="0" spc="-2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text which may go over multiple lin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71B4F07E-7451-8739-8C2D-69FB1135A46E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314655" y="2447925"/>
            <a:ext cx="1503784" cy="280502"/>
          </a:xfrm>
        </p:spPr>
        <p:txBody>
          <a:bodyPr wrap="square" anchor="b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900" b="0" spc="-2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text which may go over multiple lin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9BA9098-4486-1FAF-C6F9-CB1CD7904D03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8120925" y="1304925"/>
            <a:ext cx="1781175" cy="1543050"/>
          </a:xfrm>
          <a:prstGeom prst="roundRect">
            <a:avLst>
              <a:gd name="adj" fmla="val 9877"/>
            </a:avLst>
          </a:prstGeom>
          <a:solidFill>
            <a:schemeClr val="bg1"/>
          </a:solidFill>
          <a:ln w="6350">
            <a:solidFill>
              <a:schemeClr val="bg2"/>
            </a:solidFill>
          </a:ln>
        </p:spPr>
        <p:txBody>
          <a:bodyPr lIns="72000" tIns="36000" rIns="72000" bIns="36000" anchor="t" anchorCtr="0"/>
          <a:lstStyle>
            <a:lvl1pPr marL="0" indent="0" algn="r">
              <a:spcBef>
                <a:spcPts val="0"/>
              </a:spcBef>
              <a:buNone/>
              <a:defRPr sz="2400" b="1" spc="-100" baseline="0">
                <a:gradFill flip="none" rotWithShape="1">
                  <a:gsLst>
                    <a:gs pos="75000">
                      <a:schemeClr val="accent2"/>
                    </a:gs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Text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8DF3C73-F8A7-70A8-0E67-376FAEDFA2B2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8262301" y="2447925"/>
            <a:ext cx="1503784" cy="280502"/>
          </a:xfrm>
        </p:spPr>
        <p:txBody>
          <a:bodyPr wrap="square" anchor="b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text which may go over multiple lin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51A8D80-35EF-946F-B0B8-A9242F71FF43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10218825" y="5739299"/>
            <a:ext cx="1503784" cy="280502"/>
          </a:xfrm>
        </p:spPr>
        <p:txBody>
          <a:bodyPr wrap="square" anchor="b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text which may go over multiple lin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24D1342-2F50-4F9E-48AE-FA99E742C0B0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314655" y="5739299"/>
            <a:ext cx="1503784" cy="280502"/>
          </a:xfrm>
        </p:spPr>
        <p:txBody>
          <a:bodyPr wrap="square" anchor="b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text which may go over multiple lin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40B8821-C750-2A62-F6A6-F54AB302AF33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120925" y="4596299"/>
            <a:ext cx="1781175" cy="1543050"/>
          </a:xfrm>
          <a:prstGeom prst="roundRect">
            <a:avLst>
              <a:gd name="adj" fmla="val 9877"/>
            </a:avLst>
          </a:prstGeom>
          <a:solidFill>
            <a:schemeClr val="bg1"/>
          </a:solidFill>
          <a:ln w="6350">
            <a:solidFill>
              <a:schemeClr val="bg2"/>
            </a:solidFill>
          </a:ln>
        </p:spPr>
        <p:txBody>
          <a:bodyPr lIns="72000" tIns="36000" rIns="72000" bIns="36000" anchor="t" anchorCtr="0"/>
          <a:lstStyle>
            <a:lvl1pPr marL="0" indent="0" algn="r">
              <a:spcBef>
                <a:spcPts val="0"/>
              </a:spcBef>
              <a:buNone/>
              <a:defRPr lang="en-AU" sz="2400" b="1" kern="1200" spc="-100" baseline="0" noProof="0" dirty="0">
                <a:gradFill flip="none" rotWithShape="1">
                  <a:gsLst>
                    <a:gs pos="75000">
                      <a:schemeClr val="accent2"/>
                    </a:gs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AU" noProof="0"/>
              <a:t>Tex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F643FB5-EEDE-A8EC-7312-AB963C5E5435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262301" y="5739299"/>
            <a:ext cx="1503784" cy="280502"/>
          </a:xfrm>
        </p:spPr>
        <p:txBody>
          <a:bodyPr wrap="square" anchor="b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text which may go over multiple lines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FE21188-6CAC-76A6-D1D3-E89A413D6973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10077449" y="2950612"/>
            <a:ext cx="1781175" cy="1543050"/>
          </a:xfrm>
          <a:prstGeom prst="roundRect">
            <a:avLst>
              <a:gd name="adj" fmla="val 9877"/>
            </a:avLst>
          </a:prstGeom>
          <a:solidFill>
            <a:schemeClr val="bg1"/>
          </a:solidFill>
          <a:ln w="6350">
            <a:solidFill>
              <a:schemeClr val="bg2"/>
            </a:solidFill>
          </a:ln>
        </p:spPr>
        <p:txBody>
          <a:bodyPr lIns="72000" tIns="36000" rIns="72000" bIns="36000" anchor="t" anchorCtr="0"/>
          <a:lstStyle>
            <a:lvl1pPr marL="0" indent="0" algn="r">
              <a:spcBef>
                <a:spcPts val="0"/>
              </a:spcBef>
              <a:buNone/>
              <a:defRPr lang="en-AU" sz="2400" b="1" kern="1200" spc="-100" baseline="0" noProof="0" dirty="0">
                <a:gradFill flip="none" rotWithShape="1">
                  <a:gsLst>
                    <a:gs pos="75000">
                      <a:schemeClr val="accent2"/>
                    </a:gs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AU" noProof="0"/>
              <a:t>Text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224B279-AD6C-5C7B-6D19-6CD356E9152B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10218825" y="4093612"/>
            <a:ext cx="1503784" cy="280502"/>
          </a:xfrm>
        </p:spPr>
        <p:txBody>
          <a:bodyPr wrap="square" anchor="b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text which may go over multiple lin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75345F2-9E4E-7896-054B-815A6262E42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173279" y="2950612"/>
            <a:ext cx="1781175" cy="1543050"/>
          </a:xfrm>
          <a:prstGeom prst="roundRect">
            <a:avLst>
              <a:gd name="adj" fmla="val 9877"/>
            </a:avLst>
          </a:prstGeom>
          <a:solidFill>
            <a:schemeClr val="bg1"/>
          </a:solidFill>
          <a:ln w="6350">
            <a:solidFill>
              <a:schemeClr val="bg2"/>
            </a:solidFill>
          </a:ln>
        </p:spPr>
        <p:txBody>
          <a:bodyPr lIns="72000" tIns="36000" rIns="72000" bIns="36000" anchor="t" anchorCtr="0"/>
          <a:lstStyle>
            <a:lvl1pPr marL="0" indent="0" algn="r">
              <a:spcBef>
                <a:spcPts val="0"/>
              </a:spcBef>
              <a:buNone/>
              <a:defRPr lang="en-AU" sz="2400" b="1" kern="1200" spc="-100" baseline="0" noProof="0" dirty="0">
                <a:gradFill flip="none" rotWithShape="1">
                  <a:gsLst>
                    <a:gs pos="75000">
                      <a:schemeClr val="accent2"/>
                    </a:gs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AU" noProof="0"/>
              <a:t>Tex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21CFC424-DA3E-C14B-ED18-7D0D446BAAC7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6314655" y="4093612"/>
            <a:ext cx="1503784" cy="280502"/>
          </a:xfrm>
        </p:spPr>
        <p:txBody>
          <a:bodyPr wrap="square" anchor="b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text which may go over multiple lin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17C027A-614A-237E-A589-5C72614AC17D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8262301" y="4093612"/>
            <a:ext cx="1503784" cy="280502"/>
          </a:xfrm>
        </p:spPr>
        <p:txBody>
          <a:bodyPr wrap="square" anchor="b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900" b="0" spc="-2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text which may go over multiple lin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64E387A-0C71-E140-7987-A32F2B9BD4A2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8248650" y="6326981"/>
            <a:ext cx="3607349" cy="280988"/>
          </a:xfrm>
        </p:spPr>
        <p:txBody>
          <a:bodyPr wrap="square" anchor="b" anchorCtr="0"/>
          <a:lstStyle>
            <a:lvl1pPr marL="0" indent="0" algn="r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Footnote text which may go over two lin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0371BBD-EDB5-66C4-31B3-5D508B73B9B4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541232" y="1277777"/>
            <a:ext cx="3538770" cy="1260000"/>
          </a:xfrm>
        </p:spPr>
        <p:txBody>
          <a:bodyPr wrap="square" anchor="t" anchorCtr="0"/>
          <a:lstStyle>
            <a:lvl1pPr marL="0" indent="0" algn="l">
              <a:spcBef>
                <a:spcPts val="0"/>
              </a:spcBef>
              <a:buNone/>
              <a:defRPr sz="1600" b="0" spc="-5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an introductory paragraph which may be as long as five lines.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C4B78683-D40E-257F-E3E6-8C6EE9CC2693}"/>
              </a:ext>
            </a:extLst>
          </p:cNvPr>
          <p:cNvSpPr/>
          <p:nvPr userDrawn="1"/>
        </p:nvSpPr>
        <p:spPr>
          <a:xfrm>
            <a:off x="336000" y="1311111"/>
            <a:ext cx="25400" cy="1152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2"/>
              </a:gs>
              <a:gs pos="30000">
                <a:schemeClr val="accent2"/>
              </a:gs>
              <a:gs pos="100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D94FB155-C984-C8FB-BE33-CFAED6D1BE1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36001" y="2867023"/>
            <a:ext cx="3744000" cy="32680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872336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094A408-4541-46F8-9F97-067C05877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D13B38-24E6-47D5-ABA5-6C9AFDD62A9B}" type="datetime1">
              <a:rPr lang="en-AU" smtClean="0"/>
              <a:t>9/04/2025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1E5D40-2E2F-4499-A847-0FE058F98D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2025 Australia Pos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4BECD1-C3A3-4EE1-AF23-B7B969BDFC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16B6A-336A-44FF-82DA-A4D1594FA055}" type="slidenum">
              <a:rPr lang="en-AU" smtClean="0"/>
              <a:t>‹#›</a:t>
            </a:fld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D03B665-D8AC-0147-F008-A121CED0D9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401B8401-3036-A983-FA6A-B8007EABBC16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248650" y="6326981"/>
            <a:ext cx="3607349" cy="280988"/>
          </a:xfrm>
        </p:spPr>
        <p:txBody>
          <a:bodyPr wrap="square" anchor="b" anchorCtr="0"/>
          <a:lstStyle>
            <a:lvl1pPr marL="0" indent="0" algn="r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Footnote text which may go over two lines</a:t>
            </a:r>
          </a:p>
        </p:txBody>
      </p:sp>
    </p:spTree>
    <p:extLst>
      <p:ext uri="{BB962C8B-B14F-4D97-AF65-F5344CB8AC3E}">
        <p14:creationId xmlns:p14="http://schemas.microsoft.com/office/powerpoint/2010/main" val="35772513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811781A-9133-4B2B-BBE1-07AEC1B6D6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76FEC-BBAA-46D9-BD00-F60DAC14FB11}" type="datetime1">
              <a:rPr lang="en-AU" smtClean="0"/>
              <a:t>9/04/2025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7F52EC3-9C09-446D-B2DA-292FFB5BAB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2025 Australia Po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1A54E2-78FF-4846-A79D-8C6297C910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16B6A-336A-44FF-82DA-A4D1594FA055}" type="slidenum">
              <a:rPr lang="en-AU" smtClean="0"/>
              <a:t>‹#›</a:t>
            </a:fld>
            <a:endParaRPr lang="en-AU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192909D-1E9E-3B17-2075-1CA3C0A9C9C1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248650" y="6326981"/>
            <a:ext cx="3607349" cy="280988"/>
          </a:xfrm>
        </p:spPr>
        <p:txBody>
          <a:bodyPr wrap="square" anchor="b" anchorCtr="0"/>
          <a:lstStyle>
            <a:lvl1pPr marL="0" indent="0" algn="r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Footnote text which may go over two lines</a:t>
            </a:r>
          </a:p>
        </p:txBody>
      </p:sp>
    </p:spTree>
    <p:extLst>
      <p:ext uri="{BB962C8B-B14F-4D97-AF65-F5344CB8AC3E}">
        <p14:creationId xmlns:p14="http://schemas.microsoft.com/office/powerpoint/2010/main" val="7204064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9AA27EA7-95E2-1F07-1563-EC34FA5DC7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3D03B665-D8AC-0147-F008-A121CED0D9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73CB575-DB56-4AE6-3311-6D3CD46DE7F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4800" y="6152663"/>
            <a:ext cx="1884525" cy="400536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D377F36-9A47-150B-3F18-EB3BA363FA2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600824" y="6419850"/>
            <a:ext cx="5255175" cy="237600"/>
          </a:xfrm>
        </p:spPr>
        <p:txBody>
          <a:bodyPr wrap="none" anchor="ctr" anchorCtr="0"/>
          <a:lstStyle>
            <a:lvl1pPr marL="0" indent="0" algn="r">
              <a:spcBef>
                <a:spcPts val="0"/>
              </a:spcBef>
              <a:buNone/>
              <a:defRPr sz="900" b="0" spc="-2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AU" noProof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864E381-1EAD-4A92-4AD4-EEEFD558B057}"/>
              </a:ext>
            </a:extLst>
          </p:cNvPr>
          <p:cNvSpPr>
            <a:spLocks noGrp="1"/>
          </p:cNvSpPr>
          <p:nvPr>
            <p:ph type="body" idx="34"/>
          </p:nvPr>
        </p:nvSpPr>
        <p:spPr>
          <a:xfrm>
            <a:off x="541232" y="1277776"/>
            <a:ext cx="5195992" cy="2227423"/>
          </a:xfrm>
        </p:spPr>
        <p:txBody>
          <a:bodyPr wrap="square" anchor="t" anchorCtr="0"/>
          <a:lstStyle>
            <a:lvl1pPr marL="0" indent="0" algn="l">
              <a:spcBef>
                <a:spcPts val="0"/>
              </a:spcBef>
              <a:buNone/>
              <a:defRPr sz="1600" b="0" spc="-5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AU" noProof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2C57DA9-ABE3-B556-81F2-30080225B043}"/>
              </a:ext>
            </a:extLst>
          </p:cNvPr>
          <p:cNvSpPr/>
          <p:nvPr userDrawn="1"/>
        </p:nvSpPr>
        <p:spPr>
          <a:xfrm>
            <a:off x="336000" y="1311111"/>
            <a:ext cx="25400" cy="2124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577193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5DB1DE-8D73-4AFA-95E5-57D6E62C0F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BCEB6E-01B3-4CFF-A7F5-FE974A8DBA50}" type="datetime1">
              <a:rPr lang="en-AU" noProof="0" smtClean="0"/>
              <a:t>9/04/2025</a:t>
            </a:fld>
            <a:endParaRPr lang="en-AU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CDE5F3-3665-4461-B770-070BFE327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 noProof="0"/>
              <a:t>© 2025 Australia Pos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AE5D6D-B1E7-41CE-A1BF-283239250B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16B6A-336A-44FF-82DA-A4D1594FA055}" type="slidenum">
              <a:rPr lang="en-AU" noProof="0" smtClean="0"/>
              <a:t>‹#›</a:t>
            </a:fld>
            <a:endParaRPr lang="en-AU" noProof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9F497BB-0DCD-914F-4F2F-33EE3C32A162}"/>
              </a:ext>
            </a:extLst>
          </p:cNvPr>
          <p:cNvSpPr txBox="1"/>
          <p:nvPr userDrawn="1"/>
        </p:nvSpPr>
        <p:spPr>
          <a:xfrm>
            <a:off x="530798" y="1277777"/>
            <a:ext cx="3047230" cy="123110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C192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AU" sz="1600" b="0" i="0" u="none" strike="noStrike" kern="1200" cap="none" spc="-50" normalizeH="0" baseline="0" noProof="0">
                <a:ln>
                  <a:noFill/>
                </a:ln>
                <a:solidFill>
                  <a:srgbClr val="212129"/>
                </a:solidFill>
                <a:effectLst/>
                <a:uLnTx/>
                <a:uFillTx/>
                <a:latin typeface="AP Type Text"/>
                <a:ea typeface="+mn-ea"/>
                <a:cs typeface="+mn-cs"/>
              </a:rPr>
              <a:t>These instructions are specific to our branded PowerPoint template. Delete this slide and any unused example slides before finalising your presentation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046F4F-F7EF-603D-F4E3-2D6BED1961C5}"/>
              </a:ext>
            </a:extLst>
          </p:cNvPr>
          <p:cNvSpPr txBox="1"/>
          <p:nvPr userDrawn="1"/>
        </p:nvSpPr>
        <p:spPr>
          <a:xfrm>
            <a:off x="4223999" y="1311112"/>
            <a:ext cx="2913647" cy="383181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AU" sz="1200" b="1" spc="-20" baseline="0" noProof="0">
                <a:solidFill>
                  <a:schemeClr val="tx1"/>
                </a:solidFill>
                <a:latin typeface="+mn-lt"/>
              </a:rPr>
              <a:t>How to use slide layouts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AU" sz="1200" spc="-20" baseline="0" noProof="0">
                <a:solidFill>
                  <a:schemeClr val="tx1"/>
                </a:solidFill>
                <a:latin typeface="+mn-lt"/>
              </a:rPr>
              <a:t>This template includes example slides; edit these to suit your needs or delete them. 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AU" sz="1200" spc="-20" baseline="0" noProof="0">
                <a:solidFill>
                  <a:schemeClr val="tx1"/>
                </a:solidFill>
                <a:latin typeface="+mn-lt"/>
              </a:rPr>
              <a:t>To choose a layout for a new slide; g</a:t>
            </a:r>
            <a:r>
              <a:rPr lang="en-AU" sz="1200" kern="1200" spc="-2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 to the Home tab, click on ‘New Slide’,  and click on a layout that will suit your </a:t>
            </a:r>
            <a:br>
              <a:rPr lang="en-AU" sz="1200" kern="1200" spc="-2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AU" sz="1200" kern="1200" spc="-2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tent the best.</a:t>
            </a:r>
          </a:p>
          <a:p>
            <a:pPr marL="177800" indent="-1778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AU" sz="1200" kern="1200" spc="-2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AU" sz="1200" b="1" kern="1200" spc="-2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w to use colour</a:t>
            </a:r>
          </a:p>
          <a:p>
            <a:pPr marL="0" indent="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AU" sz="1200" kern="1200" spc="-2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ways use our Theme colours:</a:t>
            </a:r>
          </a:p>
          <a:p>
            <a:pPr marL="171450" indent="-17145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AU" sz="1200" kern="1200" spc="-2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ur hero colour is always red.</a:t>
            </a:r>
          </a:p>
          <a:p>
            <a:pPr marL="171450" indent="-17145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AU" sz="1200" kern="1200" spc="-2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 the secondary colours in a wide variety of ways as shown in the example slides; from typography, charts and diagrams through to gradients.</a:t>
            </a:r>
          </a:p>
          <a:p>
            <a:pPr marL="0" indent="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AU" sz="1200" kern="1200" spc="-2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011F931-3F81-9831-0DB4-C0BA8C9A3F3A}"/>
              </a:ext>
            </a:extLst>
          </p:cNvPr>
          <p:cNvSpPr txBox="1"/>
          <p:nvPr userDrawn="1"/>
        </p:nvSpPr>
        <p:spPr>
          <a:xfrm>
            <a:off x="8112001" y="1311112"/>
            <a:ext cx="3100495" cy="378565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AU" sz="1200" b="1" spc="-20" baseline="0" noProof="0">
                <a:solidFill>
                  <a:schemeClr val="tx1"/>
                </a:solidFill>
                <a:latin typeface="+mn-lt"/>
              </a:rPr>
              <a:t>How to format text</a:t>
            </a:r>
          </a:p>
          <a:p>
            <a:pPr marL="177800" indent="-177800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AU" sz="1200" spc="-20" baseline="0" noProof="0">
                <a:solidFill>
                  <a:schemeClr val="tx1"/>
                </a:solidFill>
                <a:latin typeface="+mn-lt"/>
              </a:rPr>
              <a:t>All copy is set in the font called </a:t>
            </a:r>
            <a:br>
              <a:rPr lang="en-AU" sz="1200" spc="-20" baseline="0" noProof="0">
                <a:solidFill>
                  <a:schemeClr val="tx1"/>
                </a:solidFill>
                <a:latin typeface="+mn-lt"/>
              </a:rPr>
            </a:br>
            <a:r>
              <a:rPr lang="en-AU" sz="1200" spc="-20" baseline="0" noProof="0">
                <a:solidFill>
                  <a:schemeClr val="tx1"/>
                </a:solidFill>
                <a:latin typeface="+mn-lt"/>
              </a:rPr>
              <a:t>AP Type Text.</a:t>
            </a:r>
          </a:p>
          <a:p>
            <a:pPr marL="177800" indent="-177800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AU" sz="1200" spc="-20" baseline="0" noProof="0">
                <a:solidFill>
                  <a:schemeClr val="tx1"/>
                </a:solidFill>
                <a:latin typeface="+mn-lt"/>
              </a:rPr>
              <a:t>Use the ‘B’ icon on the Home tab to bold text for a paragraph heading.</a:t>
            </a:r>
          </a:p>
          <a:p>
            <a:pPr marL="177800" indent="-177800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AU" sz="1200" spc="-20" baseline="0" noProof="0">
                <a:solidFill>
                  <a:schemeClr val="tx1"/>
                </a:solidFill>
                <a:latin typeface="+mn-lt"/>
              </a:rPr>
              <a:t>Use the bullet icon on the Home tab to turn bullets on and off.</a:t>
            </a:r>
          </a:p>
          <a:p>
            <a:pPr>
              <a:spcBef>
                <a:spcPts val="600"/>
              </a:spcBef>
            </a:pPr>
            <a:endParaRPr lang="en-AU" sz="1200" spc="-20" baseline="0" noProof="0">
              <a:solidFill>
                <a:schemeClr val="tx1"/>
              </a:solidFill>
              <a:latin typeface="+mn-lt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AU" sz="1200" b="0" spc="-20" baseline="0" noProof="0">
                <a:solidFill>
                  <a:schemeClr val="tx1"/>
                </a:solidFill>
                <a:latin typeface="+mn-lt"/>
              </a:rPr>
              <a:t>A guide to font sizes: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AU" sz="1600" spc="-20" baseline="0" noProof="0">
                <a:solidFill>
                  <a:schemeClr val="tx1"/>
                </a:solidFill>
                <a:latin typeface="+mn-lt"/>
              </a:rPr>
              <a:t>Large intro text 16pt.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AU" sz="1200" b="1" spc="-20" baseline="0" noProof="0">
                <a:solidFill>
                  <a:schemeClr val="tx1"/>
                </a:solidFill>
                <a:latin typeface="+mn-lt"/>
              </a:rPr>
              <a:t>Paragraph and chart headings 12pt bold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AU" sz="1200" spc="-20" baseline="0" noProof="0">
                <a:solidFill>
                  <a:schemeClr val="tx1"/>
                </a:solidFill>
                <a:latin typeface="+mn-lt"/>
              </a:rPr>
              <a:t>Body copy and bullet points 12pt.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AU" sz="1200" spc="-20" baseline="0" noProof="0">
                <a:solidFill>
                  <a:schemeClr val="tx1"/>
                </a:solidFill>
                <a:latin typeface="+mn-lt"/>
              </a:rPr>
              <a:t>Small text in diagrams, tables and charts 9pt.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AU" sz="1200" spc="-20" baseline="0" noProof="0">
                <a:solidFill>
                  <a:schemeClr val="tx1"/>
                </a:solidFill>
                <a:latin typeface="+mn-lt"/>
              </a:rPr>
              <a:t>Large statistic 24pt bold: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AU" sz="2400" b="1" spc="-20" baseline="0" noProof="0">
                <a:solidFill>
                  <a:schemeClr val="accent2"/>
                </a:solidFill>
                <a:latin typeface="+mn-lt"/>
              </a:rPr>
              <a:t>68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F731CF4-38A7-42E6-294B-97415416FECC}"/>
              </a:ext>
            </a:extLst>
          </p:cNvPr>
          <p:cNvSpPr txBox="1"/>
          <p:nvPr userDrawn="1"/>
        </p:nvSpPr>
        <p:spPr>
          <a:xfrm>
            <a:off x="336000" y="269081"/>
            <a:ext cx="6097554" cy="3323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AU" sz="2400" b="1" kern="1200" spc="-100" baseline="0" noProof="0">
                <a:gradFill flip="none" rotWithShape="1">
                  <a:gsLst>
                    <a:gs pos="0">
                      <a:schemeClr val="accent2"/>
                    </a:gs>
                    <a:gs pos="7500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+mj-cs"/>
              </a:rPr>
              <a:t>About this template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F2CC2A9-799D-D583-F037-E732D8CB72EF}"/>
              </a:ext>
            </a:extLst>
          </p:cNvPr>
          <p:cNvSpPr/>
          <p:nvPr userDrawn="1"/>
        </p:nvSpPr>
        <p:spPr>
          <a:xfrm>
            <a:off x="336000" y="1311111"/>
            <a:ext cx="25400" cy="1152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2"/>
              </a:gs>
              <a:gs pos="30000">
                <a:schemeClr val="accent2"/>
              </a:gs>
              <a:gs pos="100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noProof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4A348DF-91BB-0B7A-F0AE-523003A1EE24}"/>
              </a:ext>
            </a:extLst>
          </p:cNvPr>
          <p:cNvGrpSpPr/>
          <p:nvPr userDrawn="1"/>
        </p:nvGrpSpPr>
        <p:grpSpPr>
          <a:xfrm>
            <a:off x="4403092" y="4907697"/>
            <a:ext cx="2068729" cy="635823"/>
            <a:chOff x="4216661" y="3993298"/>
            <a:chExt cx="2166384" cy="665837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EC8D9C33-6819-5D93-5EF8-069CADD879D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4216661" y="3993298"/>
              <a:ext cx="2166384" cy="411535"/>
            </a:xfrm>
            <a:prstGeom prst="rect">
              <a:avLst/>
            </a:prstGeom>
            <a:ln w="6350">
              <a:solidFill>
                <a:schemeClr val="bg2"/>
              </a:solidFill>
            </a:ln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C8E4551-0DCB-9A34-C28C-9F8A1D821574}"/>
                </a:ext>
              </a:extLst>
            </p:cNvPr>
            <p:cNvSpPr txBox="1"/>
            <p:nvPr userDrawn="1"/>
          </p:nvSpPr>
          <p:spPr>
            <a:xfrm>
              <a:off x="5253394" y="4437536"/>
              <a:ext cx="330660" cy="221599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indent="0" algn="ctr">
                <a:lnSpc>
                  <a:spcPct val="80000"/>
                </a:lnSpc>
                <a:spcBef>
                  <a:spcPts val="0"/>
                </a:spcBef>
                <a:buNone/>
              </a:pPr>
              <a:r>
                <a:rPr lang="en-AU" sz="900" b="0" spc="-20" baseline="0" noProof="0">
                  <a:solidFill>
                    <a:schemeClr val="tx1"/>
                  </a:solidFill>
                  <a:latin typeface="+mn-lt"/>
                </a:rPr>
                <a:t>Hero red</a:t>
              </a:r>
              <a:endParaRPr lang="en-AU" sz="900" b="0" spc="-20" baseline="0" noProof="0">
                <a:solidFill>
                  <a:schemeClr val="accent2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47951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A2F31819-AF97-5FF6-03C3-9196BC1451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4EABEA33-DFC2-3CE1-218E-36D87FD0517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7594" y="-1"/>
            <a:ext cx="6024406" cy="6858000"/>
          </a:xfrm>
          <a:custGeom>
            <a:avLst/>
            <a:gdLst>
              <a:gd name="connsiteX0" fmla="*/ 1677601 w 6024406"/>
              <a:gd name="connsiteY0" fmla="*/ 0 h 6858000"/>
              <a:gd name="connsiteX1" fmla="*/ 5110006 w 6024406"/>
              <a:gd name="connsiteY1" fmla="*/ 0 h 6858000"/>
              <a:gd name="connsiteX2" fmla="*/ 6017264 w 6024406"/>
              <a:gd name="connsiteY2" fmla="*/ 0 h 6858000"/>
              <a:gd name="connsiteX3" fmla="*/ 6024406 w 6024406"/>
              <a:gd name="connsiteY3" fmla="*/ 0 h 6858000"/>
              <a:gd name="connsiteX4" fmla="*/ 6024406 w 6024406"/>
              <a:gd name="connsiteY4" fmla="*/ 6858000 h 6858000"/>
              <a:gd name="connsiteX5" fmla="*/ 5110006 w 6024406"/>
              <a:gd name="connsiteY5" fmla="*/ 6858000 h 6858000"/>
              <a:gd name="connsiteX6" fmla="*/ 5110006 w 6024406"/>
              <a:gd name="connsiteY6" fmla="*/ 6857999 h 6858000"/>
              <a:gd name="connsiteX7" fmla="*/ 24411 w 6024406"/>
              <a:gd name="connsiteY7" fmla="*/ 6857999 h 6858000"/>
              <a:gd name="connsiteX8" fmla="*/ 15640 w 6024406"/>
              <a:gd name="connsiteY8" fmla="*/ 6742657 h 6858000"/>
              <a:gd name="connsiteX9" fmla="*/ 0 w 6024406"/>
              <a:gd name="connsiteY9" fmla="*/ 6124088 h 6858000"/>
              <a:gd name="connsiteX10" fmla="*/ 1450797 w 6024406"/>
              <a:gd name="connsiteY10" fmla="*/ 39445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024406" h="6858000">
                <a:moveTo>
                  <a:pt x="1677601" y="0"/>
                </a:moveTo>
                <a:lnTo>
                  <a:pt x="5110006" y="0"/>
                </a:lnTo>
                <a:lnTo>
                  <a:pt x="6017264" y="0"/>
                </a:lnTo>
                <a:lnTo>
                  <a:pt x="6024406" y="0"/>
                </a:lnTo>
                <a:lnTo>
                  <a:pt x="6024406" y="6858000"/>
                </a:lnTo>
                <a:lnTo>
                  <a:pt x="5110006" y="6858000"/>
                </a:lnTo>
                <a:lnTo>
                  <a:pt x="5110006" y="6857999"/>
                </a:lnTo>
                <a:lnTo>
                  <a:pt x="24411" y="6857999"/>
                </a:lnTo>
                <a:lnTo>
                  <a:pt x="15640" y="6742657"/>
                </a:lnTo>
                <a:cubicBezTo>
                  <a:pt x="5255" y="6537779"/>
                  <a:pt x="0" y="6331547"/>
                  <a:pt x="0" y="6124088"/>
                </a:cubicBezTo>
                <a:cubicBezTo>
                  <a:pt x="0" y="4049500"/>
                  <a:pt x="525558" y="2097662"/>
                  <a:pt x="1450797" y="39445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E5E0691-C93E-4D61-8BB9-2D4B1F9B50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799" y="1273302"/>
            <a:ext cx="5920499" cy="1362076"/>
          </a:xfrm>
        </p:spPr>
        <p:txBody>
          <a:bodyPr anchor="t" anchorCtr="0"/>
          <a:lstStyle>
            <a:lvl1pPr algn="l">
              <a:defRPr sz="4200" spc="-200" baseline="0">
                <a:solidFill>
                  <a:schemeClr val="bg1"/>
                </a:solidFill>
              </a:defRPr>
            </a:lvl1pPr>
          </a:lstStyle>
          <a:p>
            <a:r>
              <a:rPr lang="en-AU" noProof="0"/>
              <a:t>Click to edit Master title sty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824C130-C324-E709-699E-47E57B86E6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4800" y="6152663"/>
            <a:ext cx="1884525" cy="400536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876AEA4-87EA-5475-32D8-0482D9FF1DF2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600824" y="6419850"/>
            <a:ext cx="5255175" cy="237600"/>
          </a:xfrm>
        </p:spPr>
        <p:txBody>
          <a:bodyPr wrap="none" anchor="ctr" anchorCtr="0"/>
          <a:lstStyle>
            <a:lvl1pPr marL="0" indent="0" algn="r">
              <a:spcBef>
                <a:spcPts val="0"/>
              </a:spcBef>
              <a:buNone/>
              <a:defRPr sz="900" b="0" spc="-2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36860325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811781A-9133-4B2B-BBE1-07AEC1B6D6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16135-AD09-4DF5-B3A6-B9BACA668BF8}" type="datetime1">
              <a:rPr lang="en-AU" smtClean="0"/>
              <a:t>9/04/2025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7F52EC3-9C09-446D-B2DA-292FFB5BAB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2025 Australia Po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1A54E2-78FF-4846-A79D-8C6297C910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16B6A-336A-44FF-82DA-A4D1594FA055}" type="slidenum">
              <a:rPr lang="en-AU" smtClean="0"/>
              <a:t>‹#›</a:t>
            </a:fld>
            <a:endParaRPr lang="en-AU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192909D-1E9E-3B17-2075-1CA3C0A9C9C1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248650" y="6326981"/>
            <a:ext cx="3607349" cy="280988"/>
          </a:xfrm>
        </p:spPr>
        <p:txBody>
          <a:bodyPr wrap="square" anchor="b" anchorCtr="0"/>
          <a:lstStyle>
            <a:lvl1pPr marL="0" indent="0" algn="r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Footnote text which may go over two lines</a:t>
            </a:r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C62D5A12-0971-0969-56DE-CA59B19ED23E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5317947" y="1360170"/>
            <a:ext cx="6375600" cy="4442753"/>
          </a:xfrm>
          <a:prstGeom prst="roundRect">
            <a:avLst>
              <a:gd name="adj" fmla="val 3798"/>
            </a:avLst>
          </a:prstGeom>
          <a:ln>
            <a:noFill/>
          </a:ln>
        </p:spPr>
        <p:txBody>
          <a:bodyPr tIns="432000" anchor="ctr"/>
          <a:lstStyle>
            <a:lvl1pPr marL="0" indent="0" algn="ctr">
              <a:buNone/>
              <a:defRPr/>
            </a:lvl1pPr>
          </a:lstStyle>
          <a:p>
            <a:r>
              <a:rPr lang="en-AU"/>
              <a:t>Click icon to insert video</a:t>
            </a:r>
          </a:p>
        </p:txBody>
      </p:sp>
    </p:spTree>
    <p:extLst>
      <p:ext uri="{BB962C8B-B14F-4D97-AF65-F5344CB8AC3E}">
        <p14:creationId xmlns:p14="http://schemas.microsoft.com/office/powerpoint/2010/main" val="23955184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89D200C-1E01-A16A-2F8A-2E5A0A6228BA}"/>
              </a:ext>
            </a:extLst>
          </p:cNvPr>
          <p:cNvCxnSpPr/>
          <p:nvPr userDrawn="1"/>
        </p:nvCxnSpPr>
        <p:spPr>
          <a:xfrm>
            <a:off x="556847" y="873209"/>
            <a:ext cx="110744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3">
            <a:extLst>
              <a:ext uri="{FF2B5EF4-FFF2-40B4-BE49-F238E27FC236}">
                <a16:creationId xmlns:a16="http://schemas.microsoft.com/office/drawing/2014/main" id="{04E51096-089E-C337-F282-4F9AA0AEC3B9}"/>
              </a:ext>
            </a:extLst>
          </p:cNvPr>
          <p:cNvSpPr txBox="1">
            <a:spLocks/>
          </p:cNvSpPr>
          <p:nvPr userDrawn="1"/>
        </p:nvSpPr>
        <p:spPr>
          <a:xfrm>
            <a:off x="564251" y="337552"/>
            <a:ext cx="11066996" cy="486610"/>
          </a:xfrm>
          <a:prstGeom prst="rect">
            <a:avLst/>
          </a:prstGeom>
        </p:spPr>
        <p:txBody>
          <a:bodyPr lIns="36000" tIns="36000" rIns="36000" bIns="3600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200"/>
              </a:spcAft>
              <a:buNone/>
              <a:defRPr lang="en-NZ"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7C4F5F46-E3E4-2077-C5A6-00154AE040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4251" y="337553"/>
            <a:ext cx="11068062" cy="486361"/>
          </a:xfrm>
          <a:prstGeom prst="rect">
            <a:avLst/>
          </a:prstGeom>
        </p:spPr>
        <p:txBody>
          <a:bodyPr lIns="36000" tIns="36000" rIns="36000" bIns="36000" anchor="b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spcAft>
                <a:spcPts val="200"/>
              </a:spcAft>
              <a:defRPr lang="en-NZ"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>
              <a:lnSpc>
                <a:spcPct val="100000"/>
              </a:lnSpc>
              <a:spcBef>
                <a:spcPts val="400"/>
              </a:spcBef>
              <a:spcAft>
                <a:spcPts val="200"/>
              </a:spcAft>
            </a:pPr>
            <a:r>
              <a:rPr lang="en-US"/>
              <a:t>Click to edit header text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1156175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32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_SCREEN">
    <p:bg>
      <p:bgPr>
        <a:solidFill>
          <a:schemeClr val="bg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:a16="http://schemas.microsoft.com/office/drawing/2014/main" id="{5A1DA9CF-D7C3-40BE-BB29-2549B81506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4251" y="3573464"/>
            <a:ext cx="9320153" cy="18251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400"/>
              </a:spcBef>
              <a:spcAft>
                <a:spcPts val="200"/>
              </a:spcAft>
              <a:buNone/>
              <a:defRPr sz="1800">
                <a:solidFill>
                  <a:schemeClr val="tx1"/>
                </a:solidFill>
              </a:defRPr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8489E14-80E0-4AA7-8068-B6AFFB96A02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4251" y="1941360"/>
            <a:ext cx="4181231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200"/>
              </a:spcAft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ection XX</a:t>
            </a:r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1513D52-1109-4266-92B0-E8588A406B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31939"/>
          <a:stretch/>
        </p:blipFill>
        <p:spPr>
          <a:xfrm>
            <a:off x="7825861" y="-609402"/>
            <a:ext cx="4366139" cy="2617783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9C0CAD-A5CB-46CB-9615-55C70D6450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4250" y="2327494"/>
            <a:ext cx="9320154" cy="9433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200"/>
              </a:spcAft>
              <a:buNone/>
              <a:defRPr sz="3800" b="1">
                <a:solidFill>
                  <a:schemeClr val="bg2"/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Section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761776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ayout_no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B1AA6D9-5202-45A9-8AA0-92C7684B75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4251" y="337553"/>
            <a:ext cx="11068062" cy="486361"/>
          </a:xfrm>
          <a:prstGeom prst="rect">
            <a:avLst/>
          </a:prstGeom>
        </p:spPr>
        <p:txBody>
          <a:bodyPr lIns="36000" tIns="36000" rIns="36000" bIns="36000" anchor="b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spcAft>
                <a:spcPts val="200"/>
              </a:spcAft>
              <a:defRPr lang="en-NZ"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>
              <a:lnSpc>
                <a:spcPct val="100000"/>
              </a:lnSpc>
              <a:spcBef>
                <a:spcPts val="400"/>
              </a:spcBef>
              <a:spcAft>
                <a:spcPts val="200"/>
              </a:spcAft>
            </a:pPr>
            <a:r>
              <a:rPr lang="en-US"/>
              <a:t>Click to edit header text</a:t>
            </a:r>
            <a:endParaRPr lang="en-NZ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3780585-700F-4B80-8109-8E42833879F7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564250" y="1526841"/>
            <a:ext cx="11068062" cy="4710447"/>
          </a:xfrm>
          <a:prstGeom prst="rect">
            <a:avLst/>
          </a:prstGeom>
        </p:spPr>
        <p:txBody>
          <a:bodyPr lIns="36000" tIns="36000" rIns="36000" bIns="36000"/>
          <a:lstStyle>
            <a:lvl1pPr marL="180975" indent="-180975">
              <a:lnSpc>
                <a:spcPct val="100000"/>
              </a:lnSpc>
              <a:spcBef>
                <a:spcPts val="400"/>
              </a:spcBef>
              <a:spcAft>
                <a:spcPts val="200"/>
              </a:spcAft>
              <a:buClr>
                <a:schemeClr val="tx1"/>
              </a:buClr>
              <a:buSzPct val="120000"/>
              <a:defRPr sz="1000">
                <a:solidFill>
                  <a:schemeClr val="tx1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</a:defRPr>
            </a:lvl2pPr>
            <a:lvl3pPr marL="534988" indent="-174625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</a:defRPr>
            </a:lvl3pPr>
            <a:lvl4pPr marL="715963" indent="-180975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</a:defRPr>
            </a:lvl4pPr>
            <a:lvl5pPr marL="896938" indent="-180975">
              <a:lnSpc>
                <a:spcPct val="100000"/>
              </a:lnSpc>
              <a:spcBef>
                <a:spcPts val="200"/>
              </a:spcBef>
              <a:spcAft>
                <a:spcPts val="1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4DF92A5-119C-4844-A5A1-4071182BF42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64251" y="950580"/>
            <a:ext cx="11068062" cy="392113"/>
          </a:xfrm>
          <a:prstGeom prst="rect">
            <a:avLst/>
          </a:prstGeom>
        </p:spPr>
        <p:txBody>
          <a:bodyPr lIns="36000" tIns="36000" rIns="36000" bIns="36000" anchor="t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200"/>
              </a:spcAft>
              <a:buNone/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1BFBF3-E716-66CD-66C9-C96C1A5069F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4251" y="6380714"/>
            <a:ext cx="11068062" cy="180425"/>
          </a:xfrm>
          <a:prstGeom prst="rect">
            <a:avLst/>
          </a:prstGeom>
        </p:spPr>
        <p:txBody>
          <a:bodyPr lIns="36000" tIns="36000" rIns="36000" bIns="3600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tabLst>
                <a:tab pos="180975" algn="l"/>
              </a:tabLst>
              <a:defRPr sz="700">
                <a:solidFill>
                  <a:srgbClr val="000000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source and note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43FAEC0-C906-6A97-105E-2590D8EEF43F}"/>
              </a:ext>
            </a:extLst>
          </p:cNvPr>
          <p:cNvCxnSpPr/>
          <p:nvPr userDrawn="1"/>
        </p:nvCxnSpPr>
        <p:spPr>
          <a:xfrm>
            <a:off x="556847" y="873209"/>
            <a:ext cx="110744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2881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aphic 25">
            <a:extLst>
              <a:ext uri="{FF2B5EF4-FFF2-40B4-BE49-F238E27FC236}">
                <a16:creationId xmlns:a16="http://schemas.microsoft.com/office/drawing/2014/main" id="{9762ABF0-99C8-163B-1993-B0BE517FE3DD}"/>
              </a:ext>
            </a:extLst>
          </p:cNvPr>
          <p:cNvGrpSpPr/>
          <p:nvPr userDrawn="1"/>
        </p:nvGrpSpPr>
        <p:grpSpPr>
          <a:xfrm>
            <a:off x="641802" y="6483229"/>
            <a:ext cx="588657" cy="65548"/>
            <a:chOff x="1552708" y="6590654"/>
            <a:chExt cx="588657" cy="65548"/>
          </a:xfrm>
          <a:solidFill>
            <a:schemeClr val="tx1"/>
          </a:solidFill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5D2AD5FD-2A60-43EE-74D8-D4717CCF174C}"/>
                </a:ext>
              </a:extLst>
            </p:cNvPr>
            <p:cNvSpPr/>
            <p:nvPr/>
          </p:nvSpPr>
          <p:spPr>
            <a:xfrm>
              <a:off x="1552708" y="6591721"/>
              <a:ext cx="52512" cy="63379"/>
            </a:xfrm>
            <a:custGeom>
              <a:avLst/>
              <a:gdLst>
                <a:gd name="connsiteX0" fmla="*/ 33231 w 52512"/>
                <a:gd name="connsiteY0" fmla="*/ 12858 h 63379"/>
                <a:gd name="connsiteX1" fmla="*/ 33231 w 52512"/>
                <a:gd name="connsiteY1" fmla="*/ 63380 h 63379"/>
                <a:gd name="connsiteX2" fmla="*/ 19282 w 52512"/>
                <a:gd name="connsiteY2" fmla="*/ 63380 h 63379"/>
                <a:gd name="connsiteX3" fmla="*/ 19282 w 52512"/>
                <a:gd name="connsiteY3" fmla="*/ 12858 h 63379"/>
                <a:gd name="connsiteX4" fmla="*/ 0 w 52512"/>
                <a:gd name="connsiteY4" fmla="*/ 12858 h 63379"/>
                <a:gd name="connsiteX5" fmla="*/ 0 w 52512"/>
                <a:gd name="connsiteY5" fmla="*/ 0 h 63379"/>
                <a:gd name="connsiteX6" fmla="*/ 52512 w 52512"/>
                <a:gd name="connsiteY6" fmla="*/ 0 h 63379"/>
                <a:gd name="connsiteX7" fmla="*/ 52512 w 52512"/>
                <a:gd name="connsiteY7" fmla="*/ 12858 h 63379"/>
                <a:gd name="connsiteX8" fmla="*/ 33231 w 52512"/>
                <a:gd name="connsiteY8" fmla="*/ 12858 h 63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512" h="63379">
                  <a:moveTo>
                    <a:pt x="33231" y="12858"/>
                  </a:moveTo>
                  <a:lnTo>
                    <a:pt x="33231" y="63380"/>
                  </a:lnTo>
                  <a:lnTo>
                    <a:pt x="19282" y="63380"/>
                  </a:lnTo>
                  <a:lnTo>
                    <a:pt x="19282" y="12858"/>
                  </a:lnTo>
                  <a:lnTo>
                    <a:pt x="0" y="12858"/>
                  </a:lnTo>
                  <a:lnTo>
                    <a:pt x="0" y="0"/>
                  </a:lnTo>
                  <a:lnTo>
                    <a:pt x="52512" y="0"/>
                  </a:lnTo>
                  <a:lnTo>
                    <a:pt x="52512" y="12858"/>
                  </a:lnTo>
                  <a:lnTo>
                    <a:pt x="33231" y="12858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BD9535F5-2D27-C4C7-F64D-254DE18D2D25}"/>
                </a:ext>
              </a:extLst>
            </p:cNvPr>
            <p:cNvSpPr/>
            <p:nvPr/>
          </p:nvSpPr>
          <p:spPr>
            <a:xfrm>
              <a:off x="1613113" y="6590654"/>
              <a:ext cx="67361" cy="65548"/>
            </a:xfrm>
            <a:custGeom>
              <a:avLst/>
              <a:gdLst>
                <a:gd name="connsiteX0" fmla="*/ 64826 w 67361"/>
                <a:gd name="connsiteY0" fmla="*/ 45485 h 65548"/>
                <a:gd name="connsiteX1" fmla="*/ 57810 w 67361"/>
                <a:gd name="connsiteY1" fmla="*/ 55902 h 65548"/>
                <a:gd name="connsiteX2" fmla="*/ 47120 w 67361"/>
                <a:gd name="connsiteY2" fmla="*/ 62965 h 65548"/>
                <a:gd name="connsiteX3" fmla="*/ 33586 w 67361"/>
                <a:gd name="connsiteY3" fmla="*/ 65548 h 65548"/>
                <a:gd name="connsiteX4" fmla="*/ 20100 w 67361"/>
                <a:gd name="connsiteY4" fmla="*/ 62965 h 65548"/>
                <a:gd name="connsiteX5" fmla="*/ 9457 w 67361"/>
                <a:gd name="connsiteY5" fmla="*/ 55996 h 65548"/>
                <a:gd name="connsiteX6" fmla="*/ 2489 w 67361"/>
                <a:gd name="connsiteY6" fmla="*/ 45674 h 65548"/>
                <a:gd name="connsiteX7" fmla="*/ 0 w 67361"/>
                <a:gd name="connsiteY7" fmla="*/ 32958 h 65548"/>
                <a:gd name="connsiteX8" fmla="*/ 0 w 67361"/>
                <a:gd name="connsiteY8" fmla="*/ 32780 h 65548"/>
                <a:gd name="connsiteX9" fmla="*/ 2536 w 67361"/>
                <a:gd name="connsiteY9" fmla="*/ 20064 h 65548"/>
                <a:gd name="connsiteX10" fmla="*/ 9552 w 67361"/>
                <a:gd name="connsiteY10" fmla="*/ 9647 h 65548"/>
                <a:gd name="connsiteX11" fmla="*/ 20242 w 67361"/>
                <a:gd name="connsiteY11" fmla="*/ 2584 h 65548"/>
                <a:gd name="connsiteX12" fmla="*/ 33776 w 67361"/>
                <a:gd name="connsiteY12" fmla="*/ 0 h 65548"/>
                <a:gd name="connsiteX13" fmla="*/ 47262 w 67361"/>
                <a:gd name="connsiteY13" fmla="*/ 2584 h 65548"/>
                <a:gd name="connsiteX14" fmla="*/ 57905 w 67361"/>
                <a:gd name="connsiteY14" fmla="*/ 9552 h 65548"/>
                <a:gd name="connsiteX15" fmla="*/ 64873 w 67361"/>
                <a:gd name="connsiteY15" fmla="*/ 19874 h 65548"/>
                <a:gd name="connsiteX16" fmla="*/ 67362 w 67361"/>
                <a:gd name="connsiteY16" fmla="*/ 32591 h 65548"/>
                <a:gd name="connsiteX17" fmla="*/ 67362 w 67361"/>
                <a:gd name="connsiteY17" fmla="*/ 32768 h 65548"/>
                <a:gd name="connsiteX18" fmla="*/ 64826 w 67361"/>
                <a:gd name="connsiteY18" fmla="*/ 45496 h 65548"/>
                <a:gd name="connsiteX19" fmla="*/ 52785 w 67361"/>
                <a:gd name="connsiteY19" fmla="*/ 32756 h 65548"/>
                <a:gd name="connsiteX20" fmla="*/ 51387 w 67361"/>
                <a:gd name="connsiteY20" fmla="*/ 25065 h 65548"/>
                <a:gd name="connsiteX21" fmla="*/ 47405 w 67361"/>
                <a:gd name="connsiteY21" fmla="*/ 18725 h 65548"/>
                <a:gd name="connsiteX22" fmla="*/ 41289 w 67361"/>
                <a:gd name="connsiteY22" fmla="*/ 14423 h 65548"/>
                <a:gd name="connsiteX23" fmla="*/ 33598 w 67361"/>
                <a:gd name="connsiteY23" fmla="*/ 12835 h 65548"/>
                <a:gd name="connsiteX24" fmla="*/ 25859 w 67361"/>
                <a:gd name="connsiteY24" fmla="*/ 14375 h 65548"/>
                <a:gd name="connsiteX25" fmla="*/ 19886 w 67361"/>
                <a:gd name="connsiteY25" fmla="*/ 18630 h 65548"/>
                <a:gd name="connsiteX26" fmla="*/ 15987 w 67361"/>
                <a:gd name="connsiteY26" fmla="*/ 24923 h 65548"/>
                <a:gd name="connsiteX27" fmla="*/ 14589 w 67361"/>
                <a:gd name="connsiteY27" fmla="*/ 32579 h 65548"/>
                <a:gd name="connsiteX28" fmla="*/ 14589 w 67361"/>
                <a:gd name="connsiteY28" fmla="*/ 32756 h 65548"/>
                <a:gd name="connsiteX29" fmla="*/ 15987 w 67361"/>
                <a:gd name="connsiteY29" fmla="*/ 40448 h 65548"/>
                <a:gd name="connsiteX30" fmla="*/ 19969 w 67361"/>
                <a:gd name="connsiteY30" fmla="*/ 46788 h 65548"/>
                <a:gd name="connsiteX31" fmla="*/ 26037 w 67361"/>
                <a:gd name="connsiteY31" fmla="*/ 51090 h 65548"/>
                <a:gd name="connsiteX32" fmla="*/ 33776 w 67361"/>
                <a:gd name="connsiteY32" fmla="*/ 52678 h 65548"/>
                <a:gd name="connsiteX33" fmla="*/ 41467 w 67361"/>
                <a:gd name="connsiteY33" fmla="*/ 51138 h 65548"/>
                <a:gd name="connsiteX34" fmla="*/ 47487 w 67361"/>
                <a:gd name="connsiteY34" fmla="*/ 46883 h 65548"/>
                <a:gd name="connsiteX35" fmla="*/ 51387 w 67361"/>
                <a:gd name="connsiteY35" fmla="*/ 40590 h 65548"/>
                <a:gd name="connsiteX36" fmla="*/ 52785 w 67361"/>
                <a:gd name="connsiteY36" fmla="*/ 32934 h 65548"/>
                <a:gd name="connsiteX37" fmla="*/ 52785 w 67361"/>
                <a:gd name="connsiteY37" fmla="*/ 32756 h 65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7361" h="65548">
                  <a:moveTo>
                    <a:pt x="64826" y="45485"/>
                  </a:moveTo>
                  <a:cubicBezTo>
                    <a:pt x="63131" y="49443"/>
                    <a:pt x="60796" y="52903"/>
                    <a:pt x="57810" y="55902"/>
                  </a:cubicBezTo>
                  <a:cubicBezTo>
                    <a:pt x="54823" y="58900"/>
                    <a:pt x="51256" y="61247"/>
                    <a:pt x="47120" y="62965"/>
                  </a:cubicBezTo>
                  <a:cubicBezTo>
                    <a:pt x="42984" y="64683"/>
                    <a:pt x="38469" y="65548"/>
                    <a:pt x="33586" y="65548"/>
                  </a:cubicBezTo>
                  <a:cubicBezTo>
                    <a:pt x="28703" y="65548"/>
                    <a:pt x="24200" y="64683"/>
                    <a:pt x="20100" y="62965"/>
                  </a:cubicBezTo>
                  <a:cubicBezTo>
                    <a:pt x="15999" y="61247"/>
                    <a:pt x="12444" y="58924"/>
                    <a:pt x="9457" y="55996"/>
                  </a:cubicBezTo>
                  <a:cubicBezTo>
                    <a:pt x="6471" y="53069"/>
                    <a:pt x="4148" y="49632"/>
                    <a:pt x="2489" y="45674"/>
                  </a:cubicBezTo>
                  <a:cubicBezTo>
                    <a:pt x="830" y="41716"/>
                    <a:pt x="0" y="37485"/>
                    <a:pt x="0" y="32958"/>
                  </a:cubicBezTo>
                  <a:lnTo>
                    <a:pt x="0" y="32780"/>
                  </a:lnTo>
                  <a:cubicBezTo>
                    <a:pt x="0" y="28253"/>
                    <a:pt x="841" y="24010"/>
                    <a:pt x="2536" y="20064"/>
                  </a:cubicBezTo>
                  <a:cubicBezTo>
                    <a:pt x="4231" y="16118"/>
                    <a:pt x="6566" y="12645"/>
                    <a:pt x="9552" y="9647"/>
                  </a:cubicBezTo>
                  <a:cubicBezTo>
                    <a:pt x="12539" y="6660"/>
                    <a:pt x="16106" y="4302"/>
                    <a:pt x="20242" y="2584"/>
                  </a:cubicBezTo>
                  <a:cubicBezTo>
                    <a:pt x="24378" y="865"/>
                    <a:pt x="28893" y="0"/>
                    <a:pt x="33776" y="0"/>
                  </a:cubicBezTo>
                  <a:cubicBezTo>
                    <a:pt x="38658" y="0"/>
                    <a:pt x="43162" y="865"/>
                    <a:pt x="47262" y="2584"/>
                  </a:cubicBezTo>
                  <a:cubicBezTo>
                    <a:pt x="51363" y="4302"/>
                    <a:pt x="54918" y="6625"/>
                    <a:pt x="57905" y="9552"/>
                  </a:cubicBezTo>
                  <a:cubicBezTo>
                    <a:pt x="60891" y="12479"/>
                    <a:pt x="63214" y="15916"/>
                    <a:pt x="64873" y="19874"/>
                  </a:cubicBezTo>
                  <a:cubicBezTo>
                    <a:pt x="66532" y="23833"/>
                    <a:pt x="67362" y="28063"/>
                    <a:pt x="67362" y="32591"/>
                  </a:cubicBezTo>
                  <a:lnTo>
                    <a:pt x="67362" y="32768"/>
                  </a:lnTo>
                  <a:cubicBezTo>
                    <a:pt x="67362" y="37295"/>
                    <a:pt x="66520" y="41538"/>
                    <a:pt x="64826" y="45496"/>
                  </a:cubicBezTo>
                  <a:close/>
                  <a:moveTo>
                    <a:pt x="52785" y="32756"/>
                  </a:moveTo>
                  <a:cubicBezTo>
                    <a:pt x="52785" y="30043"/>
                    <a:pt x="52323" y="27471"/>
                    <a:pt x="51387" y="25065"/>
                  </a:cubicBezTo>
                  <a:cubicBezTo>
                    <a:pt x="50450" y="22647"/>
                    <a:pt x="49123" y="20538"/>
                    <a:pt x="47405" y="18725"/>
                  </a:cubicBezTo>
                  <a:cubicBezTo>
                    <a:pt x="45686" y="16912"/>
                    <a:pt x="43648" y="15478"/>
                    <a:pt x="41289" y="14423"/>
                  </a:cubicBezTo>
                  <a:cubicBezTo>
                    <a:pt x="38931" y="13368"/>
                    <a:pt x="36371" y="12835"/>
                    <a:pt x="33598" y="12835"/>
                  </a:cubicBezTo>
                  <a:cubicBezTo>
                    <a:pt x="30825" y="12835"/>
                    <a:pt x="28182" y="13344"/>
                    <a:pt x="25859" y="14375"/>
                  </a:cubicBezTo>
                  <a:cubicBezTo>
                    <a:pt x="23536" y="15406"/>
                    <a:pt x="21545" y="16817"/>
                    <a:pt x="19886" y="18630"/>
                  </a:cubicBezTo>
                  <a:cubicBezTo>
                    <a:pt x="18227" y="20443"/>
                    <a:pt x="16923" y="22541"/>
                    <a:pt x="15987" y="24923"/>
                  </a:cubicBezTo>
                  <a:cubicBezTo>
                    <a:pt x="15051" y="27305"/>
                    <a:pt x="14589" y="29853"/>
                    <a:pt x="14589" y="32579"/>
                  </a:cubicBezTo>
                  <a:lnTo>
                    <a:pt x="14589" y="32756"/>
                  </a:lnTo>
                  <a:cubicBezTo>
                    <a:pt x="14589" y="35470"/>
                    <a:pt x="15051" y="38042"/>
                    <a:pt x="15987" y="40448"/>
                  </a:cubicBezTo>
                  <a:cubicBezTo>
                    <a:pt x="16923" y="42865"/>
                    <a:pt x="18251" y="44975"/>
                    <a:pt x="19969" y="46788"/>
                  </a:cubicBezTo>
                  <a:cubicBezTo>
                    <a:pt x="21688" y="48601"/>
                    <a:pt x="23714" y="50035"/>
                    <a:pt x="26037" y="51090"/>
                  </a:cubicBezTo>
                  <a:cubicBezTo>
                    <a:pt x="28360" y="52145"/>
                    <a:pt x="30943" y="52678"/>
                    <a:pt x="33776" y="52678"/>
                  </a:cubicBezTo>
                  <a:cubicBezTo>
                    <a:pt x="36608" y="52678"/>
                    <a:pt x="39121" y="52169"/>
                    <a:pt x="41467" y="51138"/>
                  </a:cubicBezTo>
                  <a:cubicBezTo>
                    <a:pt x="43825" y="50106"/>
                    <a:pt x="45828" y="48696"/>
                    <a:pt x="47487" y="46883"/>
                  </a:cubicBezTo>
                  <a:cubicBezTo>
                    <a:pt x="49147" y="45070"/>
                    <a:pt x="50450" y="42972"/>
                    <a:pt x="51387" y="40590"/>
                  </a:cubicBezTo>
                  <a:cubicBezTo>
                    <a:pt x="52323" y="38208"/>
                    <a:pt x="52785" y="35660"/>
                    <a:pt x="52785" y="32934"/>
                  </a:cubicBezTo>
                  <a:lnTo>
                    <a:pt x="52785" y="32756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21D66184-1183-5A8D-FE1D-ECAA266AE46D}"/>
                </a:ext>
              </a:extLst>
            </p:cNvPr>
            <p:cNvSpPr/>
            <p:nvPr/>
          </p:nvSpPr>
          <p:spPr>
            <a:xfrm>
              <a:off x="1692871" y="6591709"/>
              <a:ext cx="63379" cy="63391"/>
            </a:xfrm>
            <a:custGeom>
              <a:avLst/>
              <a:gdLst>
                <a:gd name="connsiteX0" fmla="*/ 49621 w 63379"/>
                <a:gd name="connsiteY0" fmla="*/ 63392 h 63391"/>
                <a:gd name="connsiteX1" fmla="*/ 49621 w 63379"/>
                <a:gd name="connsiteY1" fmla="*/ 22008 h 63391"/>
                <a:gd name="connsiteX2" fmla="*/ 31785 w 63379"/>
                <a:gd name="connsiteY2" fmla="*/ 49075 h 63391"/>
                <a:gd name="connsiteX3" fmla="*/ 31417 w 63379"/>
                <a:gd name="connsiteY3" fmla="*/ 49075 h 63391"/>
                <a:gd name="connsiteX4" fmla="*/ 13759 w 63379"/>
                <a:gd name="connsiteY4" fmla="*/ 22268 h 63391"/>
                <a:gd name="connsiteX5" fmla="*/ 13759 w 63379"/>
                <a:gd name="connsiteY5" fmla="*/ 63380 h 63391"/>
                <a:gd name="connsiteX6" fmla="*/ 0 w 63379"/>
                <a:gd name="connsiteY6" fmla="*/ 63380 h 63391"/>
                <a:gd name="connsiteX7" fmla="*/ 0 w 63379"/>
                <a:gd name="connsiteY7" fmla="*/ 0 h 63391"/>
                <a:gd name="connsiteX8" fmla="*/ 15027 w 63379"/>
                <a:gd name="connsiteY8" fmla="*/ 0 h 63391"/>
                <a:gd name="connsiteX9" fmla="*/ 31690 w 63379"/>
                <a:gd name="connsiteY9" fmla="*/ 26807 h 63391"/>
                <a:gd name="connsiteX10" fmla="*/ 48353 w 63379"/>
                <a:gd name="connsiteY10" fmla="*/ 0 h 63391"/>
                <a:gd name="connsiteX11" fmla="*/ 63380 w 63379"/>
                <a:gd name="connsiteY11" fmla="*/ 0 h 63391"/>
                <a:gd name="connsiteX12" fmla="*/ 63380 w 63379"/>
                <a:gd name="connsiteY12" fmla="*/ 63380 h 63391"/>
                <a:gd name="connsiteX13" fmla="*/ 49621 w 63379"/>
                <a:gd name="connsiteY13" fmla="*/ 63380 h 63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79" h="63391">
                  <a:moveTo>
                    <a:pt x="49621" y="63392"/>
                  </a:moveTo>
                  <a:lnTo>
                    <a:pt x="49621" y="22008"/>
                  </a:lnTo>
                  <a:lnTo>
                    <a:pt x="31785" y="49075"/>
                  </a:lnTo>
                  <a:lnTo>
                    <a:pt x="31417" y="49075"/>
                  </a:lnTo>
                  <a:lnTo>
                    <a:pt x="13759" y="22268"/>
                  </a:lnTo>
                  <a:lnTo>
                    <a:pt x="13759" y="63380"/>
                  </a:lnTo>
                  <a:lnTo>
                    <a:pt x="0" y="63380"/>
                  </a:lnTo>
                  <a:lnTo>
                    <a:pt x="0" y="0"/>
                  </a:lnTo>
                  <a:lnTo>
                    <a:pt x="15027" y="0"/>
                  </a:lnTo>
                  <a:lnTo>
                    <a:pt x="31690" y="26807"/>
                  </a:lnTo>
                  <a:lnTo>
                    <a:pt x="48353" y="0"/>
                  </a:lnTo>
                  <a:lnTo>
                    <a:pt x="63380" y="0"/>
                  </a:lnTo>
                  <a:lnTo>
                    <a:pt x="63380" y="63380"/>
                  </a:lnTo>
                  <a:lnTo>
                    <a:pt x="49621" y="63380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55B8682C-383A-C3BC-E6DC-4F53DE76E339}"/>
                </a:ext>
              </a:extLst>
            </p:cNvPr>
            <p:cNvSpPr/>
            <p:nvPr/>
          </p:nvSpPr>
          <p:spPr>
            <a:xfrm>
              <a:off x="1768671" y="6590654"/>
              <a:ext cx="67361" cy="65548"/>
            </a:xfrm>
            <a:custGeom>
              <a:avLst/>
              <a:gdLst>
                <a:gd name="connsiteX0" fmla="*/ 64826 w 67361"/>
                <a:gd name="connsiteY0" fmla="*/ 45485 h 65548"/>
                <a:gd name="connsiteX1" fmla="*/ 57810 w 67361"/>
                <a:gd name="connsiteY1" fmla="*/ 55902 h 65548"/>
                <a:gd name="connsiteX2" fmla="*/ 47120 w 67361"/>
                <a:gd name="connsiteY2" fmla="*/ 62965 h 65548"/>
                <a:gd name="connsiteX3" fmla="*/ 33586 w 67361"/>
                <a:gd name="connsiteY3" fmla="*/ 65548 h 65548"/>
                <a:gd name="connsiteX4" fmla="*/ 20100 w 67361"/>
                <a:gd name="connsiteY4" fmla="*/ 62965 h 65548"/>
                <a:gd name="connsiteX5" fmla="*/ 9457 w 67361"/>
                <a:gd name="connsiteY5" fmla="*/ 55996 h 65548"/>
                <a:gd name="connsiteX6" fmla="*/ 2489 w 67361"/>
                <a:gd name="connsiteY6" fmla="*/ 45674 h 65548"/>
                <a:gd name="connsiteX7" fmla="*/ 0 w 67361"/>
                <a:gd name="connsiteY7" fmla="*/ 32958 h 65548"/>
                <a:gd name="connsiteX8" fmla="*/ 0 w 67361"/>
                <a:gd name="connsiteY8" fmla="*/ 32780 h 65548"/>
                <a:gd name="connsiteX9" fmla="*/ 2536 w 67361"/>
                <a:gd name="connsiteY9" fmla="*/ 20064 h 65548"/>
                <a:gd name="connsiteX10" fmla="*/ 9552 w 67361"/>
                <a:gd name="connsiteY10" fmla="*/ 9647 h 65548"/>
                <a:gd name="connsiteX11" fmla="*/ 20242 w 67361"/>
                <a:gd name="connsiteY11" fmla="*/ 2584 h 65548"/>
                <a:gd name="connsiteX12" fmla="*/ 33776 w 67361"/>
                <a:gd name="connsiteY12" fmla="*/ 0 h 65548"/>
                <a:gd name="connsiteX13" fmla="*/ 47262 w 67361"/>
                <a:gd name="connsiteY13" fmla="*/ 2584 h 65548"/>
                <a:gd name="connsiteX14" fmla="*/ 57905 w 67361"/>
                <a:gd name="connsiteY14" fmla="*/ 9552 h 65548"/>
                <a:gd name="connsiteX15" fmla="*/ 64873 w 67361"/>
                <a:gd name="connsiteY15" fmla="*/ 19874 h 65548"/>
                <a:gd name="connsiteX16" fmla="*/ 67362 w 67361"/>
                <a:gd name="connsiteY16" fmla="*/ 32591 h 65548"/>
                <a:gd name="connsiteX17" fmla="*/ 67362 w 67361"/>
                <a:gd name="connsiteY17" fmla="*/ 32768 h 65548"/>
                <a:gd name="connsiteX18" fmla="*/ 64826 w 67361"/>
                <a:gd name="connsiteY18" fmla="*/ 45496 h 65548"/>
                <a:gd name="connsiteX19" fmla="*/ 52785 w 67361"/>
                <a:gd name="connsiteY19" fmla="*/ 32756 h 65548"/>
                <a:gd name="connsiteX20" fmla="*/ 51387 w 67361"/>
                <a:gd name="connsiteY20" fmla="*/ 25065 h 65548"/>
                <a:gd name="connsiteX21" fmla="*/ 47405 w 67361"/>
                <a:gd name="connsiteY21" fmla="*/ 18725 h 65548"/>
                <a:gd name="connsiteX22" fmla="*/ 41289 w 67361"/>
                <a:gd name="connsiteY22" fmla="*/ 14423 h 65548"/>
                <a:gd name="connsiteX23" fmla="*/ 33598 w 67361"/>
                <a:gd name="connsiteY23" fmla="*/ 12835 h 65548"/>
                <a:gd name="connsiteX24" fmla="*/ 25859 w 67361"/>
                <a:gd name="connsiteY24" fmla="*/ 14375 h 65548"/>
                <a:gd name="connsiteX25" fmla="*/ 19886 w 67361"/>
                <a:gd name="connsiteY25" fmla="*/ 18630 h 65548"/>
                <a:gd name="connsiteX26" fmla="*/ 15987 w 67361"/>
                <a:gd name="connsiteY26" fmla="*/ 24923 h 65548"/>
                <a:gd name="connsiteX27" fmla="*/ 14589 w 67361"/>
                <a:gd name="connsiteY27" fmla="*/ 32579 h 65548"/>
                <a:gd name="connsiteX28" fmla="*/ 14589 w 67361"/>
                <a:gd name="connsiteY28" fmla="*/ 32756 h 65548"/>
                <a:gd name="connsiteX29" fmla="*/ 15987 w 67361"/>
                <a:gd name="connsiteY29" fmla="*/ 40448 h 65548"/>
                <a:gd name="connsiteX30" fmla="*/ 19969 w 67361"/>
                <a:gd name="connsiteY30" fmla="*/ 46788 h 65548"/>
                <a:gd name="connsiteX31" fmla="*/ 26037 w 67361"/>
                <a:gd name="connsiteY31" fmla="*/ 51090 h 65548"/>
                <a:gd name="connsiteX32" fmla="*/ 33776 w 67361"/>
                <a:gd name="connsiteY32" fmla="*/ 52678 h 65548"/>
                <a:gd name="connsiteX33" fmla="*/ 41467 w 67361"/>
                <a:gd name="connsiteY33" fmla="*/ 51138 h 65548"/>
                <a:gd name="connsiteX34" fmla="*/ 47488 w 67361"/>
                <a:gd name="connsiteY34" fmla="*/ 46883 h 65548"/>
                <a:gd name="connsiteX35" fmla="*/ 51387 w 67361"/>
                <a:gd name="connsiteY35" fmla="*/ 40590 h 65548"/>
                <a:gd name="connsiteX36" fmla="*/ 52785 w 67361"/>
                <a:gd name="connsiteY36" fmla="*/ 32934 h 65548"/>
                <a:gd name="connsiteX37" fmla="*/ 52785 w 67361"/>
                <a:gd name="connsiteY37" fmla="*/ 32756 h 65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7361" h="65548">
                  <a:moveTo>
                    <a:pt x="64826" y="45485"/>
                  </a:moveTo>
                  <a:cubicBezTo>
                    <a:pt x="63131" y="49443"/>
                    <a:pt x="60796" y="52903"/>
                    <a:pt x="57810" y="55902"/>
                  </a:cubicBezTo>
                  <a:cubicBezTo>
                    <a:pt x="54823" y="58900"/>
                    <a:pt x="51256" y="61247"/>
                    <a:pt x="47120" y="62965"/>
                  </a:cubicBezTo>
                  <a:cubicBezTo>
                    <a:pt x="42984" y="64683"/>
                    <a:pt x="38469" y="65548"/>
                    <a:pt x="33586" y="65548"/>
                  </a:cubicBezTo>
                  <a:cubicBezTo>
                    <a:pt x="28703" y="65548"/>
                    <a:pt x="24200" y="64683"/>
                    <a:pt x="20100" y="62965"/>
                  </a:cubicBezTo>
                  <a:cubicBezTo>
                    <a:pt x="15999" y="61247"/>
                    <a:pt x="12444" y="58924"/>
                    <a:pt x="9457" y="55996"/>
                  </a:cubicBezTo>
                  <a:cubicBezTo>
                    <a:pt x="6471" y="53069"/>
                    <a:pt x="4148" y="49632"/>
                    <a:pt x="2489" y="45674"/>
                  </a:cubicBezTo>
                  <a:cubicBezTo>
                    <a:pt x="830" y="41716"/>
                    <a:pt x="0" y="37485"/>
                    <a:pt x="0" y="32958"/>
                  </a:cubicBezTo>
                  <a:lnTo>
                    <a:pt x="0" y="32780"/>
                  </a:lnTo>
                  <a:cubicBezTo>
                    <a:pt x="0" y="28253"/>
                    <a:pt x="841" y="24010"/>
                    <a:pt x="2536" y="20064"/>
                  </a:cubicBezTo>
                  <a:cubicBezTo>
                    <a:pt x="4231" y="16118"/>
                    <a:pt x="6566" y="12645"/>
                    <a:pt x="9552" y="9647"/>
                  </a:cubicBezTo>
                  <a:cubicBezTo>
                    <a:pt x="12539" y="6660"/>
                    <a:pt x="16106" y="4302"/>
                    <a:pt x="20242" y="2584"/>
                  </a:cubicBezTo>
                  <a:cubicBezTo>
                    <a:pt x="24378" y="865"/>
                    <a:pt x="28893" y="0"/>
                    <a:pt x="33776" y="0"/>
                  </a:cubicBezTo>
                  <a:cubicBezTo>
                    <a:pt x="38658" y="0"/>
                    <a:pt x="43162" y="865"/>
                    <a:pt x="47262" y="2584"/>
                  </a:cubicBezTo>
                  <a:cubicBezTo>
                    <a:pt x="51363" y="4302"/>
                    <a:pt x="54918" y="6625"/>
                    <a:pt x="57905" y="9552"/>
                  </a:cubicBezTo>
                  <a:cubicBezTo>
                    <a:pt x="60891" y="12479"/>
                    <a:pt x="63214" y="15916"/>
                    <a:pt x="64873" y="19874"/>
                  </a:cubicBezTo>
                  <a:cubicBezTo>
                    <a:pt x="66532" y="23833"/>
                    <a:pt x="67362" y="28063"/>
                    <a:pt x="67362" y="32591"/>
                  </a:cubicBezTo>
                  <a:lnTo>
                    <a:pt x="67362" y="32768"/>
                  </a:lnTo>
                  <a:cubicBezTo>
                    <a:pt x="67362" y="37295"/>
                    <a:pt x="66520" y="41538"/>
                    <a:pt x="64826" y="45496"/>
                  </a:cubicBezTo>
                  <a:close/>
                  <a:moveTo>
                    <a:pt x="52785" y="32756"/>
                  </a:moveTo>
                  <a:cubicBezTo>
                    <a:pt x="52785" y="30043"/>
                    <a:pt x="52323" y="27471"/>
                    <a:pt x="51387" y="25065"/>
                  </a:cubicBezTo>
                  <a:cubicBezTo>
                    <a:pt x="50450" y="22647"/>
                    <a:pt x="49123" y="20538"/>
                    <a:pt x="47405" y="18725"/>
                  </a:cubicBezTo>
                  <a:cubicBezTo>
                    <a:pt x="45686" y="16912"/>
                    <a:pt x="43648" y="15478"/>
                    <a:pt x="41289" y="14423"/>
                  </a:cubicBezTo>
                  <a:cubicBezTo>
                    <a:pt x="38931" y="13368"/>
                    <a:pt x="36371" y="12835"/>
                    <a:pt x="33598" y="12835"/>
                  </a:cubicBezTo>
                  <a:cubicBezTo>
                    <a:pt x="30825" y="12835"/>
                    <a:pt x="28182" y="13344"/>
                    <a:pt x="25859" y="14375"/>
                  </a:cubicBezTo>
                  <a:cubicBezTo>
                    <a:pt x="23536" y="15406"/>
                    <a:pt x="21545" y="16817"/>
                    <a:pt x="19886" y="18630"/>
                  </a:cubicBezTo>
                  <a:cubicBezTo>
                    <a:pt x="18227" y="20443"/>
                    <a:pt x="16923" y="22541"/>
                    <a:pt x="15987" y="24923"/>
                  </a:cubicBezTo>
                  <a:cubicBezTo>
                    <a:pt x="15051" y="27305"/>
                    <a:pt x="14589" y="29853"/>
                    <a:pt x="14589" y="32579"/>
                  </a:cubicBezTo>
                  <a:lnTo>
                    <a:pt x="14589" y="32756"/>
                  </a:lnTo>
                  <a:cubicBezTo>
                    <a:pt x="14589" y="35470"/>
                    <a:pt x="15051" y="38042"/>
                    <a:pt x="15987" y="40448"/>
                  </a:cubicBezTo>
                  <a:cubicBezTo>
                    <a:pt x="16923" y="42865"/>
                    <a:pt x="18251" y="44975"/>
                    <a:pt x="19969" y="46788"/>
                  </a:cubicBezTo>
                  <a:cubicBezTo>
                    <a:pt x="21688" y="48601"/>
                    <a:pt x="23714" y="50035"/>
                    <a:pt x="26037" y="51090"/>
                  </a:cubicBezTo>
                  <a:cubicBezTo>
                    <a:pt x="28360" y="52145"/>
                    <a:pt x="30943" y="52678"/>
                    <a:pt x="33776" y="52678"/>
                  </a:cubicBezTo>
                  <a:cubicBezTo>
                    <a:pt x="36608" y="52678"/>
                    <a:pt x="39121" y="52169"/>
                    <a:pt x="41467" y="51138"/>
                  </a:cubicBezTo>
                  <a:cubicBezTo>
                    <a:pt x="43826" y="50106"/>
                    <a:pt x="45828" y="48696"/>
                    <a:pt x="47488" y="46883"/>
                  </a:cubicBezTo>
                  <a:cubicBezTo>
                    <a:pt x="49147" y="45070"/>
                    <a:pt x="50450" y="42972"/>
                    <a:pt x="51387" y="40590"/>
                  </a:cubicBezTo>
                  <a:cubicBezTo>
                    <a:pt x="52323" y="38208"/>
                    <a:pt x="52785" y="35660"/>
                    <a:pt x="52785" y="32934"/>
                  </a:cubicBezTo>
                  <a:lnTo>
                    <a:pt x="52785" y="32756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69A2585F-01E5-1528-B8E1-530179445DBD}"/>
                </a:ext>
              </a:extLst>
            </p:cNvPr>
            <p:cNvSpPr/>
            <p:nvPr/>
          </p:nvSpPr>
          <p:spPr>
            <a:xfrm>
              <a:off x="1976552" y="6590654"/>
              <a:ext cx="67361" cy="65548"/>
            </a:xfrm>
            <a:custGeom>
              <a:avLst/>
              <a:gdLst>
                <a:gd name="connsiteX0" fmla="*/ 64826 w 67361"/>
                <a:gd name="connsiteY0" fmla="*/ 45485 h 65548"/>
                <a:gd name="connsiteX1" fmla="*/ 57810 w 67361"/>
                <a:gd name="connsiteY1" fmla="*/ 55902 h 65548"/>
                <a:gd name="connsiteX2" fmla="*/ 47120 w 67361"/>
                <a:gd name="connsiteY2" fmla="*/ 62965 h 65548"/>
                <a:gd name="connsiteX3" fmla="*/ 33586 w 67361"/>
                <a:gd name="connsiteY3" fmla="*/ 65548 h 65548"/>
                <a:gd name="connsiteX4" fmla="*/ 20099 w 67361"/>
                <a:gd name="connsiteY4" fmla="*/ 62965 h 65548"/>
                <a:gd name="connsiteX5" fmla="*/ 9457 w 67361"/>
                <a:gd name="connsiteY5" fmla="*/ 55996 h 65548"/>
                <a:gd name="connsiteX6" fmla="*/ 2489 w 67361"/>
                <a:gd name="connsiteY6" fmla="*/ 45674 h 65548"/>
                <a:gd name="connsiteX7" fmla="*/ 0 w 67361"/>
                <a:gd name="connsiteY7" fmla="*/ 32958 h 65548"/>
                <a:gd name="connsiteX8" fmla="*/ 0 w 67361"/>
                <a:gd name="connsiteY8" fmla="*/ 32780 h 65548"/>
                <a:gd name="connsiteX9" fmla="*/ 2536 w 67361"/>
                <a:gd name="connsiteY9" fmla="*/ 20064 h 65548"/>
                <a:gd name="connsiteX10" fmla="*/ 9552 w 67361"/>
                <a:gd name="connsiteY10" fmla="*/ 9647 h 65548"/>
                <a:gd name="connsiteX11" fmla="*/ 20242 w 67361"/>
                <a:gd name="connsiteY11" fmla="*/ 2584 h 65548"/>
                <a:gd name="connsiteX12" fmla="*/ 33776 w 67361"/>
                <a:gd name="connsiteY12" fmla="*/ 0 h 65548"/>
                <a:gd name="connsiteX13" fmla="*/ 47262 w 67361"/>
                <a:gd name="connsiteY13" fmla="*/ 2584 h 65548"/>
                <a:gd name="connsiteX14" fmla="*/ 57905 w 67361"/>
                <a:gd name="connsiteY14" fmla="*/ 9552 h 65548"/>
                <a:gd name="connsiteX15" fmla="*/ 64873 w 67361"/>
                <a:gd name="connsiteY15" fmla="*/ 19874 h 65548"/>
                <a:gd name="connsiteX16" fmla="*/ 67362 w 67361"/>
                <a:gd name="connsiteY16" fmla="*/ 32591 h 65548"/>
                <a:gd name="connsiteX17" fmla="*/ 67362 w 67361"/>
                <a:gd name="connsiteY17" fmla="*/ 32768 h 65548"/>
                <a:gd name="connsiteX18" fmla="*/ 64826 w 67361"/>
                <a:gd name="connsiteY18" fmla="*/ 45496 h 65548"/>
                <a:gd name="connsiteX19" fmla="*/ 52785 w 67361"/>
                <a:gd name="connsiteY19" fmla="*/ 32756 h 65548"/>
                <a:gd name="connsiteX20" fmla="*/ 51387 w 67361"/>
                <a:gd name="connsiteY20" fmla="*/ 25065 h 65548"/>
                <a:gd name="connsiteX21" fmla="*/ 47405 w 67361"/>
                <a:gd name="connsiteY21" fmla="*/ 18725 h 65548"/>
                <a:gd name="connsiteX22" fmla="*/ 41289 w 67361"/>
                <a:gd name="connsiteY22" fmla="*/ 14423 h 65548"/>
                <a:gd name="connsiteX23" fmla="*/ 33598 w 67361"/>
                <a:gd name="connsiteY23" fmla="*/ 12835 h 65548"/>
                <a:gd name="connsiteX24" fmla="*/ 25859 w 67361"/>
                <a:gd name="connsiteY24" fmla="*/ 14375 h 65548"/>
                <a:gd name="connsiteX25" fmla="*/ 19886 w 67361"/>
                <a:gd name="connsiteY25" fmla="*/ 18630 h 65548"/>
                <a:gd name="connsiteX26" fmla="*/ 15987 w 67361"/>
                <a:gd name="connsiteY26" fmla="*/ 24923 h 65548"/>
                <a:gd name="connsiteX27" fmla="*/ 14589 w 67361"/>
                <a:gd name="connsiteY27" fmla="*/ 32579 h 65548"/>
                <a:gd name="connsiteX28" fmla="*/ 14589 w 67361"/>
                <a:gd name="connsiteY28" fmla="*/ 32756 h 65548"/>
                <a:gd name="connsiteX29" fmla="*/ 15987 w 67361"/>
                <a:gd name="connsiteY29" fmla="*/ 40448 h 65548"/>
                <a:gd name="connsiteX30" fmla="*/ 19969 w 67361"/>
                <a:gd name="connsiteY30" fmla="*/ 46788 h 65548"/>
                <a:gd name="connsiteX31" fmla="*/ 26037 w 67361"/>
                <a:gd name="connsiteY31" fmla="*/ 51090 h 65548"/>
                <a:gd name="connsiteX32" fmla="*/ 33776 w 67361"/>
                <a:gd name="connsiteY32" fmla="*/ 52678 h 65548"/>
                <a:gd name="connsiteX33" fmla="*/ 41467 w 67361"/>
                <a:gd name="connsiteY33" fmla="*/ 51138 h 65548"/>
                <a:gd name="connsiteX34" fmla="*/ 47487 w 67361"/>
                <a:gd name="connsiteY34" fmla="*/ 46883 h 65548"/>
                <a:gd name="connsiteX35" fmla="*/ 51387 w 67361"/>
                <a:gd name="connsiteY35" fmla="*/ 40590 h 65548"/>
                <a:gd name="connsiteX36" fmla="*/ 52785 w 67361"/>
                <a:gd name="connsiteY36" fmla="*/ 32934 h 65548"/>
                <a:gd name="connsiteX37" fmla="*/ 52785 w 67361"/>
                <a:gd name="connsiteY37" fmla="*/ 32756 h 65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7361" h="65548">
                  <a:moveTo>
                    <a:pt x="64826" y="45485"/>
                  </a:moveTo>
                  <a:cubicBezTo>
                    <a:pt x="63131" y="49443"/>
                    <a:pt x="60796" y="52903"/>
                    <a:pt x="57810" y="55902"/>
                  </a:cubicBezTo>
                  <a:cubicBezTo>
                    <a:pt x="54823" y="58900"/>
                    <a:pt x="51256" y="61247"/>
                    <a:pt x="47120" y="62965"/>
                  </a:cubicBezTo>
                  <a:cubicBezTo>
                    <a:pt x="42984" y="64683"/>
                    <a:pt x="38469" y="65548"/>
                    <a:pt x="33586" y="65548"/>
                  </a:cubicBezTo>
                  <a:cubicBezTo>
                    <a:pt x="28703" y="65548"/>
                    <a:pt x="24200" y="64683"/>
                    <a:pt x="20099" y="62965"/>
                  </a:cubicBezTo>
                  <a:cubicBezTo>
                    <a:pt x="15999" y="61247"/>
                    <a:pt x="12444" y="58924"/>
                    <a:pt x="9457" y="55996"/>
                  </a:cubicBezTo>
                  <a:cubicBezTo>
                    <a:pt x="6471" y="53069"/>
                    <a:pt x="4148" y="49632"/>
                    <a:pt x="2489" y="45674"/>
                  </a:cubicBezTo>
                  <a:cubicBezTo>
                    <a:pt x="830" y="41716"/>
                    <a:pt x="0" y="37485"/>
                    <a:pt x="0" y="32958"/>
                  </a:cubicBezTo>
                  <a:lnTo>
                    <a:pt x="0" y="32780"/>
                  </a:lnTo>
                  <a:cubicBezTo>
                    <a:pt x="0" y="28253"/>
                    <a:pt x="841" y="24010"/>
                    <a:pt x="2536" y="20064"/>
                  </a:cubicBezTo>
                  <a:cubicBezTo>
                    <a:pt x="4231" y="16118"/>
                    <a:pt x="6566" y="12645"/>
                    <a:pt x="9552" y="9647"/>
                  </a:cubicBezTo>
                  <a:cubicBezTo>
                    <a:pt x="12538" y="6660"/>
                    <a:pt x="16106" y="4302"/>
                    <a:pt x="20242" y="2584"/>
                  </a:cubicBezTo>
                  <a:cubicBezTo>
                    <a:pt x="24378" y="865"/>
                    <a:pt x="28893" y="0"/>
                    <a:pt x="33776" y="0"/>
                  </a:cubicBezTo>
                  <a:cubicBezTo>
                    <a:pt x="38658" y="0"/>
                    <a:pt x="43162" y="865"/>
                    <a:pt x="47262" y="2584"/>
                  </a:cubicBezTo>
                  <a:cubicBezTo>
                    <a:pt x="51363" y="4302"/>
                    <a:pt x="54918" y="6625"/>
                    <a:pt x="57905" y="9552"/>
                  </a:cubicBezTo>
                  <a:cubicBezTo>
                    <a:pt x="60891" y="12479"/>
                    <a:pt x="63214" y="15916"/>
                    <a:pt x="64873" y="19874"/>
                  </a:cubicBezTo>
                  <a:cubicBezTo>
                    <a:pt x="66532" y="23833"/>
                    <a:pt x="67362" y="28063"/>
                    <a:pt x="67362" y="32591"/>
                  </a:cubicBezTo>
                  <a:lnTo>
                    <a:pt x="67362" y="32768"/>
                  </a:lnTo>
                  <a:cubicBezTo>
                    <a:pt x="67362" y="37295"/>
                    <a:pt x="66520" y="41538"/>
                    <a:pt x="64826" y="45496"/>
                  </a:cubicBezTo>
                  <a:close/>
                  <a:moveTo>
                    <a:pt x="52785" y="32756"/>
                  </a:moveTo>
                  <a:cubicBezTo>
                    <a:pt x="52785" y="30043"/>
                    <a:pt x="52323" y="27471"/>
                    <a:pt x="51387" y="25065"/>
                  </a:cubicBezTo>
                  <a:cubicBezTo>
                    <a:pt x="50450" y="22647"/>
                    <a:pt x="49123" y="20538"/>
                    <a:pt x="47405" y="18725"/>
                  </a:cubicBezTo>
                  <a:cubicBezTo>
                    <a:pt x="45686" y="16912"/>
                    <a:pt x="43648" y="15478"/>
                    <a:pt x="41289" y="14423"/>
                  </a:cubicBezTo>
                  <a:cubicBezTo>
                    <a:pt x="38931" y="13368"/>
                    <a:pt x="36371" y="12835"/>
                    <a:pt x="33598" y="12835"/>
                  </a:cubicBezTo>
                  <a:cubicBezTo>
                    <a:pt x="30825" y="12835"/>
                    <a:pt x="28182" y="13344"/>
                    <a:pt x="25859" y="14375"/>
                  </a:cubicBezTo>
                  <a:cubicBezTo>
                    <a:pt x="23536" y="15406"/>
                    <a:pt x="21545" y="16817"/>
                    <a:pt x="19886" y="18630"/>
                  </a:cubicBezTo>
                  <a:cubicBezTo>
                    <a:pt x="18227" y="20443"/>
                    <a:pt x="16923" y="22541"/>
                    <a:pt x="15987" y="24923"/>
                  </a:cubicBezTo>
                  <a:cubicBezTo>
                    <a:pt x="15051" y="27305"/>
                    <a:pt x="14589" y="29853"/>
                    <a:pt x="14589" y="32579"/>
                  </a:cubicBezTo>
                  <a:lnTo>
                    <a:pt x="14589" y="32756"/>
                  </a:lnTo>
                  <a:cubicBezTo>
                    <a:pt x="14589" y="35470"/>
                    <a:pt x="15051" y="38042"/>
                    <a:pt x="15987" y="40448"/>
                  </a:cubicBezTo>
                  <a:cubicBezTo>
                    <a:pt x="16923" y="42865"/>
                    <a:pt x="18251" y="44975"/>
                    <a:pt x="19969" y="46788"/>
                  </a:cubicBezTo>
                  <a:cubicBezTo>
                    <a:pt x="21688" y="48601"/>
                    <a:pt x="23714" y="50035"/>
                    <a:pt x="26037" y="51090"/>
                  </a:cubicBezTo>
                  <a:cubicBezTo>
                    <a:pt x="28360" y="52145"/>
                    <a:pt x="30943" y="52678"/>
                    <a:pt x="33776" y="52678"/>
                  </a:cubicBezTo>
                  <a:cubicBezTo>
                    <a:pt x="36608" y="52678"/>
                    <a:pt x="39121" y="52169"/>
                    <a:pt x="41467" y="51138"/>
                  </a:cubicBezTo>
                  <a:cubicBezTo>
                    <a:pt x="43825" y="50106"/>
                    <a:pt x="45828" y="48696"/>
                    <a:pt x="47487" y="46883"/>
                  </a:cubicBezTo>
                  <a:cubicBezTo>
                    <a:pt x="49147" y="45070"/>
                    <a:pt x="50450" y="42972"/>
                    <a:pt x="51387" y="40590"/>
                  </a:cubicBezTo>
                  <a:cubicBezTo>
                    <a:pt x="52323" y="38208"/>
                    <a:pt x="52785" y="35660"/>
                    <a:pt x="52785" y="32934"/>
                  </a:cubicBezTo>
                  <a:lnTo>
                    <a:pt x="52785" y="32756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5AF85F1-964C-D4B4-5082-A626839A2CBD}"/>
                </a:ext>
              </a:extLst>
            </p:cNvPr>
            <p:cNvSpPr/>
            <p:nvPr/>
          </p:nvSpPr>
          <p:spPr>
            <a:xfrm>
              <a:off x="2045181" y="6591543"/>
              <a:ext cx="96183" cy="64019"/>
            </a:xfrm>
            <a:custGeom>
              <a:avLst/>
              <a:gdLst>
                <a:gd name="connsiteX0" fmla="*/ 74520 w 96183"/>
                <a:gd name="connsiteY0" fmla="*/ 64020 h 64019"/>
                <a:gd name="connsiteX1" fmla="*/ 62384 w 96183"/>
                <a:gd name="connsiteY1" fmla="*/ 64020 h 64019"/>
                <a:gd name="connsiteX2" fmla="*/ 48080 w 96183"/>
                <a:gd name="connsiteY2" fmla="*/ 22553 h 64019"/>
                <a:gd name="connsiteX3" fmla="*/ 33776 w 96183"/>
                <a:gd name="connsiteY3" fmla="*/ 64020 h 64019"/>
                <a:gd name="connsiteX4" fmla="*/ 21640 w 96183"/>
                <a:gd name="connsiteY4" fmla="*/ 64020 h 64019"/>
                <a:gd name="connsiteX5" fmla="*/ 0 w 96183"/>
                <a:gd name="connsiteY5" fmla="*/ 190 h 64019"/>
                <a:gd name="connsiteX6" fmla="*/ 14944 w 96183"/>
                <a:gd name="connsiteY6" fmla="*/ 190 h 64019"/>
                <a:gd name="connsiteX7" fmla="*/ 28075 w 96183"/>
                <a:gd name="connsiteY7" fmla="*/ 43102 h 64019"/>
                <a:gd name="connsiteX8" fmla="*/ 42297 w 96183"/>
                <a:gd name="connsiteY8" fmla="*/ 0 h 64019"/>
                <a:gd name="connsiteX9" fmla="*/ 54254 w 96183"/>
                <a:gd name="connsiteY9" fmla="*/ 0 h 64019"/>
                <a:gd name="connsiteX10" fmla="*/ 68476 w 96183"/>
                <a:gd name="connsiteY10" fmla="*/ 43102 h 64019"/>
                <a:gd name="connsiteX11" fmla="*/ 81607 w 96183"/>
                <a:gd name="connsiteY11" fmla="*/ 190 h 64019"/>
                <a:gd name="connsiteX12" fmla="*/ 96184 w 96183"/>
                <a:gd name="connsiteY12" fmla="*/ 190 h 64019"/>
                <a:gd name="connsiteX13" fmla="*/ 74544 w 96183"/>
                <a:gd name="connsiteY13" fmla="*/ 64020 h 6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6183" h="64019">
                  <a:moveTo>
                    <a:pt x="74520" y="64020"/>
                  </a:moveTo>
                  <a:lnTo>
                    <a:pt x="62384" y="64020"/>
                  </a:lnTo>
                  <a:lnTo>
                    <a:pt x="48080" y="22553"/>
                  </a:lnTo>
                  <a:lnTo>
                    <a:pt x="33776" y="64020"/>
                  </a:lnTo>
                  <a:lnTo>
                    <a:pt x="21640" y="64020"/>
                  </a:lnTo>
                  <a:lnTo>
                    <a:pt x="0" y="190"/>
                  </a:lnTo>
                  <a:lnTo>
                    <a:pt x="14944" y="190"/>
                  </a:lnTo>
                  <a:lnTo>
                    <a:pt x="28075" y="43102"/>
                  </a:lnTo>
                  <a:lnTo>
                    <a:pt x="42297" y="0"/>
                  </a:lnTo>
                  <a:lnTo>
                    <a:pt x="54254" y="0"/>
                  </a:lnTo>
                  <a:lnTo>
                    <a:pt x="68476" y="43102"/>
                  </a:lnTo>
                  <a:lnTo>
                    <a:pt x="81607" y="190"/>
                  </a:lnTo>
                  <a:lnTo>
                    <a:pt x="96184" y="190"/>
                  </a:lnTo>
                  <a:lnTo>
                    <a:pt x="74544" y="64020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3557194-BCF9-4BEF-C2C4-6852F0526829}"/>
                </a:ext>
              </a:extLst>
            </p:cNvPr>
            <p:cNvSpPr/>
            <p:nvPr/>
          </p:nvSpPr>
          <p:spPr>
            <a:xfrm>
              <a:off x="1847244" y="6591863"/>
              <a:ext cx="54787" cy="63379"/>
            </a:xfrm>
            <a:custGeom>
              <a:avLst/>
              <a:gdLst>
                <a:gd name="connsiteX0" fmla="*/ 36004 w 54787"/>
                <a:gd name="connsiteY0" fmla="*/ 40744 h 63379"/>
                <a:gd name="connsiteX1" fmla="*/ 49123 w 54787"/>
                <a:gd name="connsiteY1" fmla="*/ 33633 h 63379"/>
                <a:gd name="connsiteX2" fmla="*/ 52880 w 54787"/>
                <a:gd name="connsiteY2" fmla="*/ 21095 h 63379"/>
                <a:gd name="connsiteX3" fmla="*/ 52880 w 54787"/>
                <a:gd name="connsiteY3" fmla="*/ 20917 h 63379"/>
                <a:gd name="connsiteX4" fmla="*/ 46587 w 54787"/>
                <a:gd name="connsiteY4" fmla="*/ 5523 h 63379"/>
                <a:gd name="connsiteX5" fmla="*/ 28976 w 54787"/>
                <a:gd name="connsiteY5" fmla="*/ 0 h 63379"/>
                <a:gd name="connsiteX6" fmla="*/ 0 w 54787"/>
                <a:gd name="connsiteY6" fmla="*/ 0 h 63379"/>
                <a:gd name="connsiteX7" fmla="*/ 0 w 54787"/>
                <a:gd name="connsiteY7" fmla="*/ 63380 h 63379"/>
                <a:gd name="connsiteX8" fmla="*/ 13949 w 54787"/>
                <a:gd name="connsiteY8" fmla="*/ 63380 h 63379"/>
                <a:gd name="connsiteX9" fmla="*/ 13949 w 54787"/>
                <a:gd name="connsiteY9" fmla="*/ 12586 h 63379"/>
                <a:gd name="connsiteX10" fmla="*/ 27803 w 54787"/>
                <a:gd name="connsiteY10" fmla="*/ 12586 h 63379"/>
                <a:gd name="connsiteX11" fmla="*/ 35862 w 54787"/>
                <a:gd name="connsiteY11" fmla="*/ 14849 h 63379"/>
                <a:gd name="connsiteX12" fmla="*/ 38765 w 54787"/>
                <a:gd name="connsiteY12" fmla="*/ 21640 h 63379"/>
                <a:gd name="connsiteX13" fmla="*/ 38765 w 54787"/>
                <a:gd name="connsiteY13" fmla="*/ 21818 h 63379"/>
                <a:gd name="connsiteX14" fmla="*/ 36004 w 54787"/>
                <a:gd name="connsiteY14" fmla="*/ 28336 h 63379"/>
                <a:gd name="connsiteX15" fmla="*/ 28075 w 54787"/>
                <a:gd name="connsiteY15" fmla="*/ 30777 h 63379"/>
                <a:gd name="connsiteX16" fmla="*/ 20941 w 54787"/>
                <a:gd name="connsiteY16" fmla="*/ 30777 h 63379"/>
                <a:gd name="connsiteX17" fmla="*/ 20941 w 54787"/>
                <a:gd name="connsiteY17" fmla="*/ 43091 h 63379"/>
                <a:gd name="connsiteX18" fmla="*/ 36122 w 54787"/>
                <a:gd name="connsiteY18" fmla="*/ 63368 h 63379"/>
                <a:gd name="connsiteX19" fmla="*/ 54788 w 54787"/>
                <a:gd name="connsiteY19" fmla="*/ 63368 h 63379"/>
                <a:gd name="connsiteX20" fmla="*/ 36004 w 54787"/>
                <a:gd name="connsiteY20" fmla="*/ 40732 h 63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4787" h="63379">
                  <a:moveTo>
                    <a:pt x="36004" y="40744"/>
                  </a:moveTo>
                  <a:cubicBezTo>
                    <a:pt x="43956" y="39038"/>
                    <a:pt x="46622" y="36869"/>
                    <a:pt x="49123" y="33633"/>
                  </a:cubicBezTo>
                  <a:cubicBezTo>
                    <a:pt x="51624" y="30398"/>
                    <a:pt x="52880" y="26227"/>
                    <a:pt x="52880" y="21095"/>
                  </a:cubicBezTo>
                  <a:lnTo>
                    <a:pt x="52880" y="20917"/>
                  </a:lnTo>
                  <a:cubicBezTo>
                    <a:pt x="52880" y="14340"/>
                    <a:pt x="50782" y="9208"/>
                    <a:pt x="46587" y="5523"/>
                  </a:cubicBezTo>
                  <a:cubicBezTo>
                    <a:pt x="42391" y="1837"/>
                    <a:pt x="36525" y="0"/>
                    <a:pt x="28976" y="0"/>
                  </a:cubicBezTo>
                  <a:lnTo>
                    <a:pt x="0" y="0"/>
                  </a:lnTo>
                  <a:lnTo>
                    <a:pt x="0" y="63380"/>
                  </a:lnTo>
                  <a:lnTo>
                    <a:pt x="13949" y="63380"/>
                  </a:lnTo>
                  <a:lnTo>
                    <a:pt x="13949" y="12586"/>
                  </a:lnTo>
                  <a:lnTo>
                    <a:pt x="27803" y="12586"/>
                  </a:lnTo>
                  <a:cubicBezTo>
                    <a:pt x="31240" y="12586"/>
                    <a:pt x="33930" y="13344"/>
                    <a:pt x="35862" y="14849"/>
                  </a:cubicBezTo>
                  <a:cubicBezTo>
                    <a:pt x="37793" y="16355"/>
                    <a:pt x="38765" y="18618"/>
                    <a:pt x="38765" y="21640"/>
                  </a:cubicBezTo>
                  <a:lnTo>
                    <a:pt x="38765" y="21818"/>
                  </a:lnTo>
                  <a:cubicBezTo>
                    <a:pt x="38765" y="24532"/>
                    <a:pt x="37841" y="26701"/>
                    <a:pt x="36004" y="28336"/>
                  </a:cubicBezTo>
                  <a:cubicBezTo>
                    <a:pt x="34167" y="29971"/>
                    <a:pt x="31524" y="30777"/>
                    <a:pt x="28075" y="30777"/>
                  </a:cubicBezTo>
                  <a:lnTo>
                    <a:pt x="20941" y="30777"/>
                  </a:lnTo>
                  <a:lnTo>
                    <a:pt x="20941" y="43091"/>
                  </a:lnTo>
                  <a:lnTo>
                    <a:pt x="36122" y="63368"/>
                  </a:lnTo>
                  <a:lnTo>
                    <a:pt x="54788" y="63368"/>
                  </a:lnTo>
                  <a:lnTo>
                    <a:pt x="36004" y="40732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B73F0A76-B00F-AC3F-2DBE-0D1A7A34210F}"/>
                </a:ext>
              </a:extLst>
            </p:cNvPr>
            <p:cNvSpPr/>
            <p:nvPr/>
          </p:nvSpPr>
          <p:spPr>
            <a:xfrm>
              <a:off x="1913895" y="6591863"/>
              <a:ext cx="54787" cy="63379"/>
            </a:xfrm>
            <a:custGeom>
              <a:avLst/>
              <a:gdLst>
                <a:gd name="connsiteX0" fmla="*/ 36004 w 54787"/>
                <a:gd name="connsiteY0" fmla="*/ 40744 h 63379"/>
                <a:gd name="connsiteX1" fmla="*/ 49123 w 54787"/>
                <a:gd name="connsiteY1" fmla="*/ 33633 h 63379"/>
                <a:gd name="connsiteX2" fmla="*/ 52880 w 54787"/>
                <a:gd name="connsiteY2" fmla="*/ 21095 h 63379"/>
                <a:gd name="connsiteX3" fmla="*/ 52880 w 54787"/>
                <a:gd name="connsiteY3" fmla="*/ 20917 h 63379"/>
                <a:gd name="connsiteX4" fmla="*/ 46587 w 54787"/>
                <a:gd name="connsiteY4" fmla="*/ 5523 h 63379"/>
                <a:gd name="connsiteX5" fmla="*/ 28976 w 54787"/>
                <a:gd name="connsiteY5" fmla="*/ 0 h 63379"/>
                <a:gd name="connsiteX6" fmla="*/ 0 w 54787"/>
                <a:gd name="connsiteY6" fmla="*/ 0 h 63379"/>
                <a:gd name="connsiteX7" fmla="*/ 0 w 54787"/>
                <a:gd name="connsiteY7" fmla="*/ 63380 h 63379"/>
                <a:gd name="connsiteX8" fmla="*/ 13949 w 54787"/>
                <a:gd name="connsiteY8" fmla="*/ 63380 h 63379"/>
                <a:gd name="connsiteX9" fmla="*/ 13949 w 54787"/>
                <a:gd name="connsiteY9" fmla="*/ 12586 h 63379"/>
                <a:gd name="connsiteX10" fmla="*/ 27803 w 54787"/>
                <a:gd name="connsiteY10" fmla="*/ 12586 h 63379"/>
                <a:gd name="connsiteX11" fmla="*/ 35862 w 54787"/>
                <a:gd name="connsiteY11" fmla="*/ 14849 h 63379"/>
                <a:gd name="connsiteX12" fmla="*/ 38765 w 54787"/>
                <a:gd name="connsiteY12" fmla="*/ 21640 h 63379"/>
                <a:gd name="connsiteX13" fmla="*/ 38765 w 54787"/>
                <a:gd name="connsiteY13" fmla="*/ 21818 h 63379"/>
                <a:gd name="connsiteX14" fmla="*/ 36004 w 54787"/>
                <a:gd name="connsiteY14" fmla="*/ 28336 h 63379"/>
                <a:gd name="connsiteX15" fmla="*/ 28075 w 54787"/>
                <a:gd name="connsiteY15" fmla="*/ 30777 h 63379"/>
                <a:gd name="connsiteX16" fmla="*/ 20941 w 54787"/>
                <a:gd name="connsiteY16" fmla="*/ 30777 h 63379"/>
                <a:gd name="connsiteX17" fmla="*/ 20941 w 54787"/>
                <a:gd name="connsiteY17" fmla="*/ 43091 h 63379"/>
                <a:gd name="connsiteX18" fmla="*/ 36122 w 54787"/>
                <a:gd name="connsiteY18" fmla="*/ 63368 h 63379"/>
                <a:gd name="connsiteX19" fmla="*/ 54788 w 54787"/>
                <a:gd name="connsiteY19" fmla="*/ 63368 h 63379"/>
                <a:gd name="connsiteX20" fmla="*/ 36004 w 54787"/>
                <a:gd name="connsiteY20" fmla="*/ 40732 h 63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4787" h="63379">
                  <a:moveTo>
                    <a:pt x="36004" y="40744"/>
                  </a:moveTo>
                  <a:cubicBezTo>
                    <a:pt x="43956" y="39038"/>
                    <a:pt x="46622" y="36869"/>
                    <a:pt x="49123" y="33633"/>
                  </a:cubicBezTo>
                  <a:cubicBezTo>
                    <a:pt x="51624" y="30398"/>
                    <a:pt x="52880" y="26227"/>
                    <a:pt x="52880" y="21095"/>
                  </a:cubicBezTo>
                  <a:lnTo>
                    <a:pt x="52880" y="20917"/>
                  </a:lnTo>
                  <a:cubicBezTo>
                    <a:pt x="52880" y="14340"/>
                    <a:pt x="50782" y="9208"/>
                    <a:pt x="46587" y="5523"/>
                  </a:cubicBezTo>
                  <a:cubicBezTo>
                    <a:pt x="42391" y="1837"/>
                    <a:pt x="36525" y="0"/>
                    <a:pt x="28976" y="0"/>
                  </a:cubicBezTo>
                  <a:lnTo>
                    <a:pt x="0" y="0"/>
                  </a:lnTo>
                  <a:lnTo>
                    <a:pt x="0" y="63380"/>
                  </a:lnTo>
                  <a:lnTo>
                    <a:pt x="13949" y="63380"/>
                  </a:lnTo>
                  <a:lnTo>
                    <a:pt x="13949" y="12586"/>
                  </a:lnTo>
                  <a:lnTo>
                    <a:pt x="27803" y="12586"/>
                  </a:lnTo>
                  <a:cubicBezTo>
                    <a:pt x="31240" y="12586"/>
                    <a:pt x="33930" y="13344"/>
                    <a:pt x="35862" y="14849"/>
                  </a:cubicBezTo>
                  <a:cubicBezTo>
                    <a:pt x="37793" y="16355"/>
                    <a:pt x="38765" y="18618"/>
                    <a:pt x="38765" y="21640"/>
                  </a:cubicBezTo>
                  <a:lnTo>
                    <a:pt x="38765" y="21818"/>
                  </a:lnTo>
                  <a:cubicBezTo>
                    <a:pt x="38765" y="24532"/>
                    <a:pt x="37841" y="26701"/>
                    <a:pt x="36004" y="28336"/>
                  </a:cubicBezTo>
                  <a:cubicBezTo>
                    <a:pt x="34167" y="29971"/>
                    <a:pt x="31524" y="30777"/>
                    <a:pt x="28075" y="30777"/>
                  </a:cubicBezTo>
                  <a:lnTo>
                    <a:pt x="20941" y="30777"/>
                  </a:lnTo>
                  <a:lnTo>
                    <a:pt x="20941" y="43091"/>
                  </a:lnTo>
                  <a:lnTo>
                    <a:pt x="36122" y="63368"/>
                  </a:lnTo>
                  <a:lnTo>
                    <a:pt x="54788" y="63368"/>
                  </a:lnTo>
                  <a:lnTo>
                    <a:pt x="36004" y="40732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287E0A3-99FC-A165-0205-603BD426F2D4}"/>
              </a:ext>
            </a:extLst>
          </p:cNvPr>
          <p:cNvGrpSpPr/>
          <p:nvPr userDrawn="1"/>
        </p:nvGrpSpPr>
        <p:grpSpPr>
          <a:xfrm>
            <a:off x="289932" y="6281977"/>
            <a:ext cx="11584177" cy="129643"/>
            <a:chOff x="-20516" y="2052871"/>
            <a:chExt cx="17746191" cy="198605"/>
          </a:xfrm>
        </p:grpSpPr>
        <p:sp>
          <p:nvSpPr>
            <p:cNvPr id="15" name="AutoShape 24">
              <a:extLst>
                <a:ext uri="{FF2B5EF4-FFF2-40B4-BE49-F238E27FC236}">
                  <a16:creationId xmlns:a16="http://schemas.microsoft.com/office/drawing/2014/main" id="{7A90D965-59DD-4E51-7721-22623072DC0A}"/>
                </a:ext>
              </a:extLst>
            </p:cNvPr>
            <p:cNvSpPr/>
            <p:nvPr/>
          </p:nvSpPr>
          <p:spPr>
            <a:xfrm flipV="1">
              <a:off x="1032935" y="2052871"/>
              <a:ext cx="16692740" cy="0"/>
            </a:xfrm>
            <a:prstGeom prst="line">
              <a:avLst/>
            </a:prstGeom>
            <a:ln w="28575" cap="flat">
              <a:solidFill>
                <a:schemeClr val="tx1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ZA">
                <a:solidFill>
                  <a:srgbClr val="1D428A"/>
                </a:solidFill>
              </a:endParaRPr>
            </a:p>
          </p:txBody>
        </p:sp>
        <p:sp>
          <p:nvSpPr>
            <p:cNvPr id="16" name="AutoShape 24">
              <a:extLst>
                <a:ext uri="{FF2B5EF4-FFF2-40B4-BE49-F238E27FC236}">
                  <a16:creationId xmlns:a16="http://schemas.microsoft.com/office/drawing/2014/main" id="{339243AC-2445-89B5-4930-168C17A3B4EF}"/>
                </a:ext>
              </a:extLst>
            </p:cNvPr>
            <p:cNvSpPr/>
            <p:nvPr/>
          </p:nvSpPr>
          <p:spPr>
            <a:xfrm flipV="1">
              <a:off x="-20516" y="2052877"/>
              <a:ext cx="927307" cy="0"/>
            </a:xfrm>
            <a:prstGeom prst="line">
              <a:avLst/>
            </a:prstGeom>
            <a:ln w="28575" cap="flat">
              <a:solidFill>
                <a:schemeClr val="tx1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ZA">
                <a:solidFill>
                  <a:srgbClr val="1D428A"/>
                </a:solidFill>
              </a:endParaRPr>
            </a:p>
          </p:txBody>
        </p:sp>
        <p:sp>
          <p:nvSpPr>
            <p:cNvPr id="17" name="AutoShape 24">
              <a:extLst>
                <a:ext uri="{FF2B5EF4-FFF2-40B4-BE49-F238E27FC236}">
                  <a16:creationId xmlns:a16="http://schemas.microsoft.com/office/drawing/2014/main" id="{7C222FEB-E112-50DC-900D-F928E31AA02E}"/>
                </a:ext>
              </a:extLst>
            </p:cNvPr>
            <p:cNvSpPr/>
            <p:nvPr/>
          </p:nvSpPr>
          <p:spPr>
            <a:xfrm flipH="1" flipV="1">
              <a:off x="968334" y="2131093"/>
              <a:ext cx="0" cy="120383"/>
            </a:xfrm>
            <a:prstGeom prst="line">
              <a:avLst/>
            </a:prstGeom>
            <a:ln w="28575" cap="flat">
              <a:solidFill>
                <a:schemeClr val="tx1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ZA">
                <a:solidFill>
                  <a:srgbClr val="1D428A"/>
                </a:solidFill>
              </a:endParaRPr>
            </a:p>
          </p:txBody>
        </p:sp>
      </p:grpSp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099F9B3A-BB4F-8FAC-69E0-5AF24D6A1298}"/>
              </a:ext>
            </a:extLst>
          </p:cNvPr>
          <p:cNvSpPr txBox="1">
            <a:spLocks/>
          </p:cNvSpPr>
          <p:nvPr userDrawn="1"/>
        </p:nvSpPr>
        <p:spPr>
          <a:xfrm>
            <a:off x="10925833" y="6419828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anose="020B05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EBABCFA-818B-ED92-344A-5048D91B3144}"/>
              </a:ext>
            </a:extLst>
          </p:cNvPr>
          <p:cNvSpPr txBox="1"/>
          <p:nvPr userDrawn="1"/>
        </p:nvSpPr>
        <p:spPr>
          <a:xfrm>
            <a:off x="3047114" y="6611779"/>
            <a:ext cx="609777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AU" sz="1000">
                <a:solidFill>
                  <a:schemeClr val="bg1">
                    <a:lumMod val="50000"/>
                  </a:schemeClr>
                </a:solidFill>
              </a:rPr>
              <a:t>CONFIDENTIAL MATERIAL – DO NOT DISTRIBUTE </a:t>
            </a:r>
          </a:p>
        </p:txBody>
      </p:sp>
    </p:spTree>
    <p:extLst>
      <p:ext uri="{BB962C8B-B14F-4D97-AF65-F5344CB8AC3E}">
        <p14:creationId xmlns:p14="http://schemas.microsoft.com/office/powerpoint/2010/main" val="401047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B7082DA-8858-2766-569F-61154AC465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1E3C"/>
          </a:solidFill>
          <a:ln w="9525" cap="flat">
            <a:noFill/>
            <a:prstDash val="solid"/>
            <a:headEnd type="none" w="sm" len="sm"/>
            <a:tailEnd type="none" w="sm" len="sm"/>
          </a:ln>
        </p:spPr>
        <p:txBody>
          <a:bodyPr rtlCol="0" anchor="ctr"/>
          <a:lstStyle/>
          <a:p>
            <a:pPr algn="l"/>
            <a:endParaRPr lang="en-ZA" sz="1200" baseline="-25000">
              <a:solidFill>
                <a:srgbClr val="1D428A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9" name="Title 13">
            <a:extLst>
              <a:ext uri="{FF2B5EF4-FFF2-40B4-BE49-F238E27FC236}">
                <a16:creationId xmlns:a16="http://schemas.microsoft.com/office/drawing/2014/main" id="{012294B5-8695-B1C9-CC61-3DDAFC87D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891" y="346167"/>
            <a:ext cx="11556218" cy="70214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B75B19A8-3C02-B495-4E6D-6E92CE6EA943}"/>
              </a:ext>
            </a:extLst>
          </p:cNvPr>
          <p:cNvSpPr txBox="1">
            <a:spLocks/>
          </p:cNvSpPr>
          <p:nvPr userDrawn="1"/>
        </p:nvSpPr>
        <p:spPr>
          <a:xfrm>
            <a:off x="10925833" y="6419828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F4F9FD"/>
                </a:solidFill>
                <a:effectLst/>
                <a:uLnTx/>
                <a:uFillTx/>
                <a:latin typeface="Avenir Next LT Pro" panose="020B05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F4F9FD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grpSp>
        <p:nvGrpSpPr>
          <p:cNvPr id="21" name="Graphic 25">
            <a:extLst>
              <a:ext uri="{FF2B5EF4-FFF2-40B4-BE49-F238E27FC236}">
                <a16:creationId xmlns:a16="http://schemas.microsoft.com/office/drawing/2014/main" id="{B22DD64F-0533-B78C-E89B-3466BE573490}"/>
              </a:ext>
            </a:extLst>
          </p:cNvPr>
          <p:cNvGrpSpPr/>
          <p:nvPr userDrawn="1"/>
        </p:nvGrpSpPr>
        <p:grpSpPr>
          <a:xfrm>
            <a:off x="641802" y="6483229"/>
            <a:ext cx="588657" cy="65548"/>
            <a:chOff x="1552708" y="6590654"/>
            <a:chExt cx="588657" cy="65548"/>
          </a:xfrm>
          <a:solidFill>
            <a:schemeClr val="bg1"/>
          </a:solidFill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0A8BA9E-7D99-D156-9702-BEEB73C9445C}"/>
                </a:ext>
              </a:extLst>
            </p:cNvPr>
            <p:cNvSpPr/>
            <p:nvPr/>
          </p:nvSpPr>
          <p:spPr>
            <a:xfrm>
              <a:off x="1552708" y="6591721"/>
              <a:ext cx="52512" cy="63379"/>
            </a:xfrm>
            <a:custGeom>
              <a:avLst/>
              <a:gdLst>
                <a:gd name="connsiteX0" fmla="*/ 33231 w 52512"/>
                <a:gd name="connsiteY0" fmla="*/ 12858 h 63379"/>
                <a:gd name="connsiteX1" fmla="*/ 33231 w 52512"/>
                <a:gd name="connsiteY1" fmla="*/ 63380 h 63379"/>
                <a:gd name="connsiteX2" fmla="*/ 19282 w 52512"/>
                <a:gd name="connsiteY2" fmla="*/ 63380 h 63379"/>
                <a:gd name="connsiteX3" fmla="*/ 19282 w 52512"/>
                <a:gd name="connsiteY3" fmla="*/ 12858 h 63379"/>
                <a:gd name="connsiteX4" fmla="*/ 0 w 52512"/>
                <a:gd name="connsiteY4" fmla="*/ 12858 h 63379"/>
                <a:gd name="connsiteX5" fmla="*/ 0 w 52512"/>
                <a:gd name="connsiteY5" fmla="*/ 0 h 63379"/>
                <a:gd name="connsiteX6" fmla="*/ 52512 w 52512"/>
                <a:gd name="connsiteY6" fmla="*/ 0 h 63379"/>
                <a:gd name="connsiteX7" fmla="*/ 52512 w 52512"/>
                <a:gd name="connsiteY7" fmla="*/ 12858 h 63379"/>
                <a:gd name="connsiteX8" fmla="*/ 33231 w 52512"/>
                <a:gd name="connsiteY8" fmla="*/ 12858 h 63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512" h="63379">
                  <a:moveTo>
                    <a:pt x="33231" y="12858"/>
                  </a:moveTo>
                  <a:lnTo>
                    <a:pt x="33231" y="63380"/>
                  </a:lnTo>
                  <a:lnTo>
                    <a:pt x="19282" y="63380"/>
                  </a:lnTo>
                  <a:lnTo>
                    <a:pt x="19282" y="12858"/>
                  </a:lnTo>
                  <a:lnTo>
                    <a:pt x="0" y="12858"/>
                  </a:lnTo>
                  <a:lnTo>
                    <a:pt x="0" y="0"/>
                  </a:lnTo>
                  <a:lnTo>
                    <a:pt x="52512" y="0"/>
                  </a:lnTo>
                  <a:lnTo>
                    <a:pt x="52512" y="12858"/>
                  </a:lnTo>
                  <a:lnTo>
                    <a:pt x="33231" y="12858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EC8E65F-BA99-8A2D-7D2B-C4A2D735E7BD}"/>
                </a:ext>
              </a:extLst>
            </p:cNvPr>
            <p:cNvSpPr/>
            <p:nvPr/>
          </p:nvSpPr>
          <p:spPr>
            <a:xfrm>
              <a:off x="1613113" y="6590654"/>
              <a:ext cx="67361" cy="65548"/>
            </a:xfrm>
            <a:custGeom>
              <a:avLst/>
              <a:gdLst>
                <a:gd name="connsiteX0" fmla="*/ 64826 w 67361"/>
                <a:gd name="connsiteY0" fmla="*/ 45485 h 65548"/>
                <a:gd name="connsiteX1" fmla="*/ 57810 w 67361"/>
                <a:gd name="connsiteY1" fmla="*/ 55902 h 65548"/>
                <a:gd name="connsiteX2" fmla="*/ 47120 w 67361"/>
                <a:gd name="connsiteY2" fmla="*/ 62965 h 65548"/>
                <a:gd name="connsiteX3" fmla="*/ 33586 w 67361"/>
                <a:gd name="connsiteY3" fmla="*/ 65548 h 65548"/>
                <a:gd name="connsiteX4" fmla="*/ 20100 w 67361"/>
                <a:gd name="connsiteY4" fmla="*/ 62965 h 65548"/>
                <a:gd name="connsiteX5" fmla="*/ 9457 w 67361"/>
                <a:gd name="connsiteY5" fmla="*/ 55996 h 65548"/>
                <a:gd name="connsiteX6" fmla="*/ 2489 w 67361"/>
                <a:gd name="connsiteY6" fmla="*/ 45674 h 65548"/>
                <a:gd name="connsiteX7" fmla="*/ 0 w 67361"/>
                <a:gd name="connsiteY7" fmla="*/ 32958 h 65548"/>
                <a:gd name="connsiteX8" fmla="*/ 0 w 67361"/>
                <a:gd name="connsiteY8" fmla="*/ 32780 h 65548"/>
                <a:gd name="connsiteX9" fmla="*/ 2536 w 67361"/>
                <a:gd name="connsiteY9" fmla="*/ 20064 h 65548"/>
                <a:gd name="connsiteX10" fmla="*/ 9552 w 67361"/>
                <a:gd name="connsiteY10" fmla="*/ 9647 h 65548"/>
                <a:gd name="connsiteX11" fmla="*/ 20242 w 67361"/>
                <a:gd name="connsiteY11" fmla="*/ 2584 h 65548"/>
                <a:gd name="connsiteX12" fmla="*/ 33776 w 67361"/>
                <a:gd name="connsiteY12" fmla="*/ 0 h 65548"/>
                <a:gd name="connsiteX13" fmla="*/ 47262 w 67361"/>
                <a:gd name="connsiteY13" fmla="*/ 2584 h 65548"/>
                <a:gd name="connsiteX14" fmla="*/ 57905 w 67361"/>
                <a:gd name="connsiteY14" fmla="*/ 9552 h 65548"/>
                <a:gd name="connsiteX15" fmla="*/ 64873 w 67361"/>
                <a:gd name="connsiteY15" fmla="*/ 19874 h 65548"/>
                <a:gd name="connsiteX16" fmla="*/ 67362 w 67361"/>
                <a:gd name="connsiteY16" fmla="*/ 32591 h 65548"/>
                <a:gd name="connsiteX17" fmla="*/ 67362 w 67361"/>
                <a:gd name="connsiteY17" fmla="*/ 32768 h 65548"/>
                <a:gd name="connsiteX18" fmla="*/ 64826 w 67361"/>
                <a:gd name="connsiteY18" fmla="*/ 45496 h 65548"/>
                <a:gd name="connsiteX19" fmla="*/ 52785 w 67361"/>
                <a:gd name="connsiteY19" fmla="*/ 32756 h 65548"/>
                <a:gd name="connsiteX20" fmla="*/ 51387 w 67361"/>
                <a:gd name="connsiteY20" fmla="*/ 25065 h 65548"/>
                <a:gd name="connsiteX21" fmla="*/ 47405 w 67361"/>
                <a:gd name="connsiteY21" fmla="*/ 18725 h 65548"/>
                <a:gd name="connsiteX22" fmla="*/ 41289 w 67361"/>
                <a:gd name="connsiteY22" fmla="*/ 14423 h 65548"/>
                <a:gd name="connsiteX23" fmla="*/ 33598 w 67361"/>
                <a:gd name="connsiteY23" fmla="*/ 12835 h 65548"/>
                <a:gd name="connsiteX24" fmla="*/ 25859 w 67361"/>
                <a:gd name="connsiteY24" fmla="*/ 14375 h 65548"/>
                <a:gd name="connsiteX25" fmla="*/ 19886 w 67361"/>
                <a:gd name="connsiteY25" fmla="*/ 18630 h 65548"/>
                <a:gd name="connsiteX26" fmla="*/ 15987 w 67361"/>
                <a:gd name="connsiteY26" fmla="*/ 24923 h 65548"/>
                <a:gd name="connsiteX27" fmla="*/ 14589 w 67361"/>
                <a:gd name="connsiteY27" fmla="*/ 32579 h 65548"/>
                <a:gd name="connsiteX28" fmla="*/ 14589 w 67361"/>
                <a:gd name="connsiteY28" fmla="*/ 32756 h 65548"/>
                <a:gd name="connsiteX29" fmla="*/ 15987 w 67361"/>
                <a:gd name="connsiteY29" fmla="*/ 40448 h 65548"/>
                <a:gd name="connsiteX30" fmla="*/ 19969 w 67361"/>
                <a:gd name="connsiteY30" fmla="*/ 46788 h 65548"/>
                <a:gd name="connsiteX31" fmla="*/ 26037 w 67361"/>
                <a:gd name="connsiteY31" fmla="*/ 51090 h 65548"/>
                <a:gd name="connsiteX32" fmla="*/ 33776 w 67361"/>
                <a:gd name="connsiteY32" fmla="*/ 52678 h 65548"/>
                <a:gd name="connsiteX33" fmla="*/ 41467 w 67361"/>
                <a:gd name="connsiteY33" fmla="*/ 51138 h 65548"/>
                <a:gd name="connsiteX34" fmla="*/ 47487 w 67361"/>
                <a:gd name="connsiteY34" fmla="*/ 46883 h 65548"/>
                <a:gd name="connsiteX35" fmla="*/ 51387 w 67361"/>
                <a:gd name="connsiteY35" fmla="*/ 40590 h 65548"/>
                <a:gd name="connsiteX36" fmla="*/ 52785 w 67361"/>
                <a:gd name="connsiteY36" fmla="*/ 32934 h 65548"/>
                <a:gd name="connsiteX37" fmla="*/ 52785 w 67361"/>
                <a:gd name="connsiteY37" fmla="*/ 32756 h 65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7361" h="65548">
                  <a:moveTo>
                    <a:pt x="64826" y="45485"/>
                  </a:moveTo>
                  <a:cubicBezTo>
                    <a:pt x="63131" y="49443"/>
                    <a:pt x="60796" y="52903"/>
                    <a:pt x="57810" y="55902"/>
                  </a:cubicBezTo>
                  <a:cubicBezTo>
                    <a:pt x="54823" y="58900"/>
                    <a:pt x="51256" y="61247"/>
                    <a:pt x="47120" y="62965"/>
                  </a:cubicBezTo>
                  <a:cubicBezTo>
                    <a:pt x="42984" y="64683"/>
                    <a:pt x="38469" y="65548"/>
                    <a:pt x="33586" y="65548"/>
                  </a:cubicBezTo>
                  <a:cubicBezTo>
                    <a:pt x="28703" y="65548"/>
                    <a:pt x="24200" y="64683"/>
                    <a:pt x="20100" y="62965"/>
                  </a:cubicBezTo>
                  <a:cubicBezTo>
                    <a:pt x="15999" y="61247"/>
                    <a:pt x="12444" y="58924"/>
                    <a:pt x="9457" y="55996"/>
                  </a:cubicBezTo>
                  <a:cubicBezTo>
                    <a:pt x="6471" y="53069"/>
                    <a:pt x="4148" y="49632"/>
                    <a:pt x="2489" y="45674"/>
                  </a:cubicBezTo>
                  <a:cubicBezTo>
                    <a:pt x="830" y="41716"/>
                    <a:pt x="0" y="37485"/>
                    <a:pt x="0" y="32958"/>
                  </a:cubicBezTo>
                  <a:lnTo>
                    <a:pt x="0" y="32780"/>
                  </a:lnTo>
                  <a:cubicBezTo>
                    <a:pt x="0" y="28253"/>
                    <a:pt x="841" y="24010"/>
                    <a:pt x="2536" y="20064"/>
                  </a:cubicBezTo>
                  <a:cubicBezTo>
                    <a:pt x="4231" y="16118"/>
                    <a:pt x="6566" y="12645"/>
                    <a:pt x="9552" y="9647"/>
                  </a:cubicBezTo>
                  <a:cubicBezTo>
                    <a:pt x="12539" y="6660"/>
                    <a:pt x="16106" y="4302"/>
                    <a:pt x="20242" y="2584"/>
                  </a:cubicBezTo>
                  <a:cubicBezTo>
                    <a:pt x="24378" y="865"/>
                    <a:pt x="28893" y="0"/>
                    <a:pt x="33776" y="0"/>
                  </a:cubicBezTo>
                  <a:cubicBezTo>
                    <a:pt x="38658" y="0"/>
                    <a:pt x="43162" y="865"/>
                    <a:pt x="47262" y="2584"/>
                  </a:cubicBezTo>
                  <a:cubicBezTo>
                    <a:pt x="51363" y="4302"/>
                    <a:pt x="54918" y="6625"/>
                    <a:pt x="57905" y="9552"/>
                  </a:cubicBezTo>
                  <a:cubicBezTo>
                    <a:pt x="60891" y="12479"/>
                    <a:pt x="63214" y="15916"/>
                    <a:pt x="64873" y="19874"/>
                  </a:cubicBezTo>
                  <a:cubicBezTo>
                    <a:pt x="66532" y="23833"/>
                    <a:pt x="67362" y="28063"/>
                    <a:pt x="67362" y="32591"/>
                  </a:cubicBezTo>
                  <a:lnTo>
                    <a:pt x="67362" y="32768"/>
                  </a:lnTo>
                  <a:cubicBezTo>
                    <a:pt x="67362" y="37295"/>
                    <a:pt x="66520" y="41538"/>
                    <a:pt x="64826" y="45496"/>
                  </a:cubicBezTo>
                  <a:close/>
                  <a:moveTo>
                    <a:pt x="52785" y="32756"/>
                  </a:moveTo>
                  <a:cubicBezTo>
                    <a:pt x="52785" y="30043"/>
                    <a:pt x="52323" y="27471"/>
                    <a:pt x="51387" y="25065"/>
                  </a:cubicBezTo>
                  <a:cubicBezTo>
                    <a:pt x="50450" y="22647"/>
                    <a:pt x="49123" y="20538"/>
                    <a:pt x="47405" y="18725"/>
                  </a:cubicBezTo>
                  <a:cubicBezTo>
                    <a:pt x="45686" y="16912"/>
                    <a:pt x="43648" y="15478"/>
                    <a:pt x="41289" y="14423"/>
                  </a:cubicBezTo>
                  <a:cubicBezTo>
                    <a:pt x="38931" y="13368"/>
                    <a:pt x="36371" y="12835"/>
                    <a:pt x="33598" y="12835"/>
                  </a:cubicBezTo>
                  <a:cubicBezTo>
                    <a:pt x="30825" y="12835"/>
                    <a:pt x="28182" y="13344"/>
                    <a:pt x="25859" y="14375"/>
                  </a:cubicBezTo>
                  <a:cubicBezTo>
                    <a:pt x="23536" y="15406"/>
                    <a:pt x="21545" y="16817"/>
                    <a:pt x="19886" y="18630"/>
                  </a:cubicBezTo>
                  <a:cubicBezTo>
                    <a:pt x="18227" y="20443"/>
                    <a:pt x="16923" y="22541"/>
                    <a:pt x="15987" y="24923"/>
                  </a:cubicBezTo>
                  <a:cubicBezTo>
                    <a:pt x="15051" y="27305"/>
                    <a:pt x="14589" y="29853"/>
                    <a:pt x="14589" y="32579"/>
                  </a:cubicBezTo>
                  <a:lnTo>
                    <a:pt x="14589" y="32756"/>
                  </a:lnTo>
                  <a:cubicBezTo>
                    <a:pt x="14589" y="35470"/>
                    <a:pt x="15051" y="38042"/>
                    <a:pt x="15987" y="40448"/>
                  </a:cubicBezTo>
                  <a:cubicBezTo>
                    <a:pt x="16923" y="42865"/>
                    <a:pt x="18251" y="44975"/>
                    <a:pt x="19969" y="46788"/>
                  </a:cubicBezTo>
                  <a:cubicBezTo>
                    <a:pt x="21688" y="48601"/>
                    <a:pt x="23714" y="50035"/>
                    <a:pt x="26037" y="51090"/>
                  </a:cubicBezTo>
                  <a:cubicBezTo>
                    <a:pt x="28360" y="52145"/>
                    <a:pt x="30943" y="52678"/>
                    <a:pt x="33776" y="52678"/>
                  </a:cubicBezTo>
                  <a:cubicBezTo>
                    <a:pt x="36608" y="52678"/>
                    <a:pt x="39121" y="52169"/>
                    <a:pt x="41467" y="51138"/>
                  </a:cubicBezTo>
                  <a:cubicBezTo>
                    <a:pt x="43825" y="50106"/>
                    <a:pt x="45828" y="48696"/>
                    <a:pt x="47487" y="46883"/>
                  </a:cubicBezTo>
                  <a:cubicBezTo>
                    <a:pt x="49147" y="45070"/>
                    <a:pt x="50450" y="42972"/>
                    <a:pt x="51387" y="40590"/>
                  </a:cubicBezTo>
                  <a:cubicBezTo>
                    <a:pt x="52323" y="38208"/>
                    <a:pt x="52785" y="35660"/>
                    <a:pt x="52785" y="32934"/>
                  </a:cubicBezTo>
                  <a:lnTo>
                    <a:pt x="52785" y="32756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A9CB6A0-DDB5-2476-D2FE-DCEF1479232F}"/>
                </a:ext>
              </a:extLst>
            </p:cNvPr>
            <p:cNvSpPr/>
            <p:nvPr/>
          </p:nvSpPr>
          <p:spPr>
            <a:xfrm>
              <a:off x="1692871" y="6591709"/>
              <a:ext cx="63379" cy="63391"/>
            </a:xfrm>
            <a:custGeom>
              <a:avLst/>
              <a:gdLst>
                <a:gd name="connsiteX0" fmla="*/ 49621 w 63379"/>
                <a:gd name="connsiteY0" fmla="*/ 63392 h 63391"/>
                <a:gd name="connsiteX1" fmla="*/ 49621 w 63379"/>
                <a:gd name="connsiteY1" fmla="*/ 22008 h 63391"/>
                <a:gd name="connsiteX2" fmla="*/ 31785 w 63379"/>
                <a:gd name="connsiteY2" fmla="*/ 49075 h 63391"/>
                <a:gd name="connsiteX3" fmla="*/ 31417 w 63379"/>
                <a:gd name="connsiteY3" fmla="*/ 49075 h 63391"/>
                <a:gd name="connsiteX4" fmla="*/ 13759 w 63379"/>
                <a:gd name="connsiteY4" fmla="*/ 22268 h 63391"/>
                <a:gd name="connsiteX5" fmla="*/ 13759 w 63379"/>
                <a:gd name="connsiteY5" fmla="*/ 63380 h 63391"/>
                <a:gd name="connsiteX6" fmla="*/ 0 w 63379"/>
                <a:gd name="connsiteY6" fmla="*/ 63380 h 63391"/>
                <a:gd name="connsiteX7" fmla="*/ 0 w 63379"/>
                <a:gd name="connsiteY7" fmla="*/ 0 h 63391"/>
                <a:gd name="connsiteX8" fmla="*/ 15027 w 63379"/>
                <a:gd name="connsiteY8" fmla="*/ 0 h 63391"/>
                <a:gd name="connsiteX9" fmla="*/ 31690 w 63379"/>
                <a:gd name="connsiteY9" fmla="*/ 26807 h 63391"/>
                <a:gd name="connsiteX10" fmla="*/ 48353 w 63379"/>
                <a:gd name="connsiteY10" fmla="*/ 0 h 63391"/>
                <a:gd name="connsiteX11" fmla="*/ 63380 w 63379"/>
                <a:gd name="connsiteY11" fmla="*/ 0 h 63391"/>
                <a:gd name="connsiteX12" fmla="*/ 63380 w 63379"/>
                <a:gd name="connsiteY12" fmla="*/ 63380 h 63391"/>
                <a:gd name="connsiteX13" fmla="*/ 49621 w 63379"/>
                <a:gd name="connsiteY13" fmla="*/ 63380 h 63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79" h="63391">
                  <a:moveTo>
                    <a:pt x="49621" y="63392"/>
                  </a:moveTo>
                  <a:lnTo>
                    <a:pt x="49621" y="22008"/>
                  </a:lnTo>
                  <a:lnTo>
                    <a:pt x="31785" y="49075"/>
                  </a:lnTo>
                  <a:lnTo>
                    <a:pt x="31417" y="49075"/>
                  </a:lnTo>
                  <a:lnTo>
                    <a:pt x="13759" y="22268"/>
                  </a:lnTo>
                  <a:lnTo>
                    <a:pt x="13759" y="63380"/>
                  </a:lnTo>
                  <a:lnTo>
                    <a:pt x="0" y="63380"/>
                  </a:lnTo>
                  <a:lnTo>
                    <a:pt x="0" y="0"/>
                  </a:lnTo>
                  <a:lnTo>
                    <a:pt x="15027" y="0"/>
                  </a:lnTo>
                  <a:lnTo>
                    <a:pt x="31690" y="26807"/>
                  </a:lnTo>
                  <a:lnTo>
                    <a:pt x="48353" y="0"/>
                  </a:lnTo>
                  <a:lnTo>
                    <a:pt x="63380" y="0"/>
                  </a:lnTo>
                  <a:lnTo>
                    <a:pt x="63380" y="63380"/>
                  </a:lnTo>
                  <a:lnTo>
                    <a:pt x="49621" y="63380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B463AB1-B39F-4A96-4A53-C36F60678CDC}"/>
                </a:ext>
              </a:extLst>
            </p:cNvPr>
            <p:cNvSpPr/>
            <p:nvPr/>
          </p:nvSpPr>
          <p:spPr>
            <a:xfrm>
              <a:off x="1768671" y="6590654"/>
              <a:ext cx="67361" cy="65548"/>
            </a:xfrm>
            <a:custGeom>
              <a:avLst/>
              <a:gdLst>
                <a:gd name="connsiteX0" fmla="*/ 64826 w 67361"/>
                <a:gd name="connsiteY0" fmla="*/ 45485 h 65548"/>
                <a:gd name="connsiteX1" fmla="*/ 57810 w 67361"/>
                <a:gd name="connsiteY1" fmla="*/ 55902 h 65548"/>
                <a:gd name="connsiteX2" fmla="*/ 47120 w 67361"/>
                <a:gd name="connsiteY2" fmla="*/ 62965 h 65548"/>
                <a:gd name="connsiteX3" fmla="*/ 33586 w 67361"/>
                <a:gd name="connsiteY3" fmla="*/ 65548 h 65548"/>
                <a:gd name="connsiteX4" fmla="*/ 20100 w 67361"/>
                <a:gd name="connsiteY4" fmla="*/ 62965 h 65548"/>
                <a:gd name="connsiteX5" fmla="*/ 9457 w 67361"/>
                <a:gd name="connsiteY5" fmla="*/ 55996 h 65548"/>
                <a:gd name="connsiteX6" fmla="*/ 2489 w 67361"/>
                <a:gd name="connsiteY6" fmla="*/ 45674 h 65548"/>
                <a:gd name="connsiteX7" fmla="*/ 0 w 67361"/>
                <a:gd name="connsiteY7" fmla="*/ 32958 h 65548"/>
                <a:gd name="connsiteX8" fmla="*/ 0 w 67361"/>
                <a:gd name="connsiteY8" fmla="*/ 32780 h 65548"/>
                <a:gd name="connsiteX9" fmla="*/ 2536 w 67361"/>
                <a:gd name="connsiteY9" fmla="*/ 20064 h 65548"/>
                <a:gd name="connsiteX10" fmla="*/ 9552 w 67361"/>
                <a:gd name="connsiteY10" fmla="*/ 9647 h 65548"/>
                <a:gd name="connsiteX11" fmla="*/ 20242 w 67361"/>
                <a:gd name="connsiteY11" fmla="*/ 2584 h 65548"/>
                <a:gd name="connsiteX12" fmla="*/ 33776 w 67361"/>
                <a:gd name="connsiteY12" fmla="*/ 0 h 65548"/>
                <a:gd name="connsiteX13" fmla="*/ 47262 w 67361"/>
                <a:gd name="connsiteY13" fmla="*/ 2584 h 65548"/>
                <a:gd name="connsiteX14" fmla="*/ 57905 w 67361"/>
                <a:gd name="connsiteY14" fmla="*/ 9552 h 65548"/>
                <a:gd name="connsiteX15" fmla="*/ 64873 w 67361"/>
                <a:gd name="connsiteY15" fmla="*/ 19874 h 65548"/>
                <a:gd name="connsiteX16" fmla="*/ 67362 w 67361"/>
                <a:gd name="connsiteY16" fmla="*/ 32591 h 65548"/>
                <a:gd name="connsiteX17" fmla="*/ 67362 w 67361"/>
                <a:gd name="connsiteY17" fmla="*/ 32768 h 65548"/>
                <a:gd name="connsiteX18" fmla="*/ 64826 w 67361"/>
                <a:gd name="connsiteY18" fmla="*/ 45496 h 65548"/>
                <a:gd name="connsiteX19" fmla="*/ 52785 w 67361"/>
                <a:gd name="connsiteY19" fmla="*/ 32756 h 65548"/>
                <a:gd name="connsiteX20" fmla="*/ 51387 w 67361"/>
                <a:gd name="connsiteY20" fmla="*/ 25065 h 65548"/>
                <a:gd name="connsiteX21" fmla="*/ 47405 w 67361"/>
                <a:gd name="connsiteY21" fmla="*/ 18725 h 65548"/>
                <a:gd name="connsiteX22" fmla="*/ 41289 w 67361"/>
                <a:gd name="connsiteY22" fmla="*/ 14423 h 65548"/>
                <a:gd name="connsiteX23" fmla="*/ 33598 w 67361"/>
                <a:gd name="connsiteY23" fmla="*/ 12835 h 65548"/>
                <a:gd name="connsiteX24" fmla="*/ 25859 w 67361"/>
                <a:gd name="connsiteY24" fmla="*/ 14375 h 65548"/>
                <a:gd name="connsiteX25" fmla="*/ 19886 w 67361"/>
                <a:gd name="connsiteY25" fmla="*/ 18630 h 65548"/>
                <a:gd name="connsiteX26" fmla="*/ 15987 w 67361"/>
                <a:gd name="connsiteY26" fmla="*/ 24923 h 65548"/>
                <a:gd name="connsiteX27" fmla="*/ 14589 w 67361"/>
                <a:gd name="connsiteY27" fmla="*/ 32579 h 65548"/>
                <a:gd name="connsiteX28" fmla="*/ 14589 w 67361"/>
                <a:gd name="connsiteY28" fmla="*/ 32756 h 65548"/>
                <a:gd name="connsiteX29" fmla="*/ 15987 w 67361"/>
                <a:gd name="connsiteY29" fmla="*/ 40448 h 65548"/>
                <a:gd name="connsiteX30" fmla="*/ 19969 w 67361"/>
                <a:gd name="connsiteY30" fmla="*/ 46788 h 65548"/>
                <a:gd name="connsiteX31" fmla="*/ 26037 w 67361"/>
                <a:gd name="connsiteY31" fmla="*/ 51090 h 65548"/>
                <a:gd name="connsiteX32" fmla="*/ 33776 w 67361"/>
                <a:gd name="connsiteY32" fmla="*/ 52678 h 65548"/>
                <a:gd name="connsiteX33" fmla="*/ 41467 w 67361"/>
                <a:gd name="connsiteY33" fmla="*/ 51138 h 65548"/>
                <a:gd name="connsiteX34" fmla="*/ 47488 w 67361"/>
                <a:gd name="connsiteY34" fmla="*/ 46883 h 65548"/>
                <a:gd name="connsiteX35" fmla="*/ 51387 w 67361"/>
                <a:gd name="connsiteY35" fmla="*/ 40590 h 65548"/>
                <a:gd name="connsiteX36" fmla="*/ 52785 w 67361"/>
                <a:gd name="connsiteY36" fmla="*/ 32934 h 65548"/>
                <a:gd name="connsiteX37" fmla="*/ 52785 w 67361"/>
                <a:gd name="connsiteY37" fmla="*/ 32756 h 65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7361" h="65548">
                  <a:moveTo>
                    <a:pt x="64826" y="45485"/>
                  </a:moveTo>
                  <a:cubicBezTo>
                    <a:pt x="63131" y="49443"/>
                    <a:pt x="60796" y="52903"/>
                    <a:pt x="57810" y="55902"/>
                  </a:cubicBezTo>
                  <a:cubicBezTo>
                    <a:pt x="54823" y="58900"/>
                    <a:pt x="51256" y="61247"/>
                    <a:pt x="47120" y="62965"/>
                  </a:cubicBezTo>
                  <a:cubicBezTo>
                    <a:pt x="42984" y="64683"/>
                    <a:pt x="38469" y="65548"/>
                    <a:pt x="33586" y="65548"/>
                  </a:cubicBezTo>
                  <a:cubicBezTo>
                    <a:pt x="28703" y="65548"/>
                    <a:pt x="24200" y="64683"/>
                    <a:pt x="20100" y="62965"/>
                  </a:cubicBezTo>
                  <a:cubicBezTo>
                    <a:pt x="15999" y="61247"/>
                    <a:pt x="12444" y="58924"/>
                    <a:pt x="9457" y="55996"/>
                  </a:cubicBezTo>
                  <a:cubicBezTo>
                    <a:pt x="6471" y="53069"/>
                    <a:pt x="4148" y="49632"/>
                    <a:pt x="2489" y="45674"/>
                  </a:cubicBezTo>
                  <a:cubicBezTo>
                    <a:pt x="830" y="41716"/>
                    <a:pt x="0" y="37485"/>
                    <a:pt x="0" y="32958"/>
                  </a:cubicBezTo>
                  <a:lnTo>
                    <a:pt x="0" y="32780"/>
                  </a:lnTo>
                  <a:cubicBezTo>
                    <a:pt x="0" y="28253"/>
                    <a:pt x="841" y="24010"/>
                    <a:pt x="2536" y="20064"/>
                  </a:cubicBezTo>
                  <a:cubicBezTo>
                    <a:pt x="4231" y="16118"/>
                    <a:pt x="6566" y="12645"/>
                    <a:pt x="9552" y="9647"/>
                  </a:cubicBezTo>
                  <a:cubicBezTo>
                    <a:pt x="12539" y="6660"/>
                    <a:pt x="16106" y="4302"/>
                    <a:pt x="20242" y="2584"/>
                  </a:cubicBezTo>
                  <a:cubicBezTo>
                    <a:pt x="24378" y="865"/>
                    <a:pt x="28893" y="0"/>
                    <a:pt x="33776" y="0"/>
                  </a:cubicBezTo>
                  <a:cubicBezTo>
                    <a:pt x="38658" y="0"/>
                    <a:pt x="43162" y="865"/>
                    <a:pt x="47262" y="2584"/>
                  </a:cubicBezTo>
                  <a:cubicBezTo>
                    <a:pt x="51363" y="4302"/>
                    <a:pt x="54918" y="6625"/>
                    <a:pt x="57905" y="9552"/>
                  </a:cubicBezTo>
                  <a:cubicBezTo>
                    <a:pt x="60891" y="12479"/>
                    <a:pt x="63214" y="15916"/>
                    <a:pt x="64873" y="19874"/>
                  </a:cubicBezTo>
                  <a:cubicBezTo>
                    <a:pt x="66532" y="23833"/>
                    <a:pt x="67362" y="28063"/>
                    <a:pt x="67362" y="32591"/>
                  </a:cubicBezTo>
                  <a:lnTo>
                    <a:pt x="67362" y="32768"/>
                  </a:lnTo>
                  <a:cubicBezTo>
                    <a:pt x="67362" y="37295"/>
                    <a:pt x="66520" y="41538"/>
                    <a:pt x="64826" y="45496"/>
                  </a:cubicBezTo>
                  <a:close/>
                  <a:moveTo>
                    <a:pt x="52785" y="32756"/>
                  </a:moveTo>
                  <a:cubicBezTo>
                    <a:pt x="52785" y="30043"/>
                    <a:pt x="52323" y="27471"/>
                    <a:pt x="51387" y="25065"/>
                  </a:cubicBezTo>
                  <a:cubicBezTo>
                    <a:pt x="50450" y="22647"/>
                    <a:pt x="49123" y="20538"/>
                    <a:pt x="47405" y="18725"/>
                  </a:cubicBezTo>
                  <a:cubicBezTo>
                    <a:pt x="45686" y="16912"/>
                    <a:pt x="43648" y="15478"/>
                    <a:pt x="41289" y="14423"/>
                  </a:cubicBezTo>
                  <a:cubicBezTo>
                    <a:pt x="38931" y="13368"/>
                    <a:pt x="36371" y="12835"/>
                    <a:pt x="33598" y="12835"/>
                  </a:cubicBezTo>
                  <a:cubicBezTo>
                    <a:pt x="30825" y="12835"/>
                    <a:pt x="28182" y="13344"/>
                    <a:pt x="25859" y="14375"/>
                  </a:cubicBezTo>
                  <a:cubicBezTo>
                    <a:pt x="23536" y="15406"/>
                    <a:pt x="21545" y="16817"/>
                    <a:pt x="19886" y="18630"/>
                  </a:cubicBezTo>
                  <a:cubicBezTo>
                    <a:pt x="18227" y="20443"/>
                    <a:pt x="16923" y="22541"/>
                    <a:pt x="15987" y="24923"/>
                  </a:cubicBezTo>
                  <a:cubicBezTo>
                    <a:pt x="15051" y="27305"/>
                    <a:pt x="14589" y="29853"/>
                    <a:pt x="14589" y="32579"/>
                  </a:cubicBezTo>
                  <a:lnTo>
                    <a:pt x="14589" y="32756"/>
                  </a:lnTo>
                  <a:cubicBezTo>
                    <a:pt x="14589" y="35470"/>
                    <a:pt x="15051" y="38042"/>
                    <a:pt x="15987" y="40448"/>
                  </a:cubicBezTo>
                  <a:cubicBezTo>
                    <a:pt x="16923" y="42865"/>
                    <a:pt x="18251" y="44975"/>
                    <a:pt x="19969" y="46788"/>
                  </a:cubicBezTo>
                  <a:cubicBezTo>
                    <a:pt x="21688" y="48601"/>
                    <a:pt x="23714" y="50035"/>
                    <a:pt x="26037" y="51090"/>
                  </a:cubicBezTo>
                  <a:cubicBezTo>
                    <a:pt x="28360" y="52145"/>
                    <a:pt x="30943" y="52678"/>
                    <a:pt x="33776" y="52678"/>
                  </a:cubicBezTo>
                  <a:cubicBezTo>
                    <a:pt x="36608" y="52678"/>
                    <a:pt x="39121" y="52169"/>
                    <a:pt x="41467" y="51138"/>
                  </a:cubicBezTo>
                  <a:cubicBezTo>
                    <a:pt x="43826" y="50106"/>
                    <a:pt x="45828" y="48696"/>
                    <a:pt x="47488" y="46883"/>
                  </a:cubicBezTo>
                  <a:cubicBezTo>
                    <a:pt x="49147" y="45070"/>
                    <a:pt x="50450" y="42972"/>
                    <a:pt x="51387" y="40590"/>
                  </a:cubicBezTo>
                  <a:cubicBezTo>
                    <a:pt x="52323" y="38208"/>
                    <a:pt x="52785" y="35660"/>
                    <a:pt x="52785" y="32934"/>
                  </a:cubicBezTo>
                  <a:lnTo>
                    <a:pt x="52785" y="32756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E5152C6-1D8F-1916-1C95-9153C00EB54E}"/>
                </a:ext>
              </a:extLst>
            </p:cNvPr>
            <p:cNvSpPr/>
            <p:nvPr/>
          </p:nvSpPr>
          <p:spPr>
            <a:xfrm>
              <a:off x="1976552" y="6590654"/>
              <a:ext cx="67361" cy="65548"/>
            </a:xfrm>
            <a:custGeom>
              <a:avLst/>
              <a:gdLst>
                <a:gd name="connsiteX0" fmla="*/ 64826 w 67361"/>
                <a:gd name="connsiteY0" fmla="*/ 45485 h 65548"/>
                <a:gd name="connsiteX1" fmla="*/ 57810 w 67361"/>
                <a:gd name="connsiteY1" fmla="*/ 55902 h 65548"/>
                <a:gd name="connsiteX2" fmla="*/ 47120 w 67361"/>
                <a:gd name="connsiteY2" fmla="*/ 62965 h 65548"/>
                <a:gd name="connsiteX3" fmla="*/ 33586 w 67361"/>
                <a:gd name="connsiteY3" fmla="*/ 65548 h 65548"/>
                <a:gd name="connsiteX4" fmla="*/ 20099 w 67361"/>
                <a:gd name="connsiteY4" fmla="*/ 62965 h 65548"/>
                <a:gd name="connsiteX5" fmla="*/ 9457 w 67361"/>
                <a:gd name="connsiteY5" fmla="*/ 55996 h 65548"/>
                <a:gd name="connsiteX6" fmla="*/ 2489 w 67361"/>
                <a:gd name="connsiteY6" fmla="*/ 45674 h 65548"/>
                <a:gd name="connsiteX7" fmla="*/ 0 w 67361"/>
                <a:gd name="connsiteY7" fmla="*/ 32958 h 65548"/>
                <a:gd name="connsiteX8" fmla="*/ 0 w 67361"/>
                <a:gd name="connsiteY8" fmla="*/ 32780 h 65548"/>
                <a:gd name="connsiteX9" fmla="*/ 2536 w 67361"/>
                <a:gd name="connsiteY9" fmla="*/ 20064 h 65548"/>
                <a:gd name="connsiteX10" fmla="*/ 9552 w 67361"/>
                <a:gd name="connsiteY10" fmla="*/ 9647 h 65548"/>
                <a:gd name="connsiteX11" fmla="*/ 20242 w 67361"/>
                <a:gd name="connsiteY11" fmla="*/ 2584 h 65548"/>
                <a:gd name="connsiteX12" fmla="*/ 33776 w 67361"/>
                <a:gd name="connsiteY12" fmla="*/ 0 h 65548"/>
                <a:gd name="connsiteX13" fmla="*/ 47262 w 67361"/>
                <a:gd name="connsiteY13" fmla="*/ 2584 h 65548"/>
                <a:gd name="connsiteX14" fmla="*/ 57905 w 67361"/>
                <a:gd name="connsiteY14" fmla="*/ 9552 h 65548"/>
                <a:gd name="connsiteX15" fmla="*/ 64873 w 67361"/>
                <a:gd name="connsiteY15" fmla="*/ 19874 h 65548"/>
                <a:gd name="connsiteX16" fmla="*/ 67362 w 67361"/>
                <a:gd name="connsiteY16" fmla="*/ 32591 h 65548"/>
                <a:gd name="connsiteX17" fmla="*/ 67362 w 67361"/>
                <a:gd name="connsiteY17" fmla="*/ 32768 h 65548"/>
                <a:gd name="connsiteX18" fmla="*/ 64826 w 67361"/>
                <a:gd name="connsiteY18" fmla="*/ 45496 h 65548"/>
                <a:gd name="connsiteX19" fmla="*/ 52785 w 67361"/>
                <a:gd name="connsiteY19" fmla="*/ 32756 h 65548"/>
                <a:gd name="connsiteX20" fmla="*/ 51387 w 67361"/>
                <a:gd name="connsiteY20" fmla="*/ 25065 h 65548"/>
                <a:gd name="connsiteX21" fmla="*/ 47405 w 67361"/>
                <a:gd name="connsiteY21" fmla="*/ 18725 h 65548"/>
                <a:gd name="connsiteX22" fmla="*/ 41289 w 67361"/>
                <a:gd name="connsiteY22" fmla="*/ 14423 h 65548"/>
                <a:gd name="connsiteX23" fmla="*/ 33598 w 67361"/>
                <a:gd name="connsiteY23" fmla="*/ 12835 h 65548"/>
                <a:gd name="connsiteX24" fmla="*/ 25859 w 67361"/>
                <a:gd name="connsiteY24" fmla="*/ 14375 h 65548"/>
                <a:gd name="connsiteX25" fmla="*/ 19886 w 67361"/>
                <a:gd name="connsiteY25" fmla="*/ 18630 h 65548"/>
                <a:gd name="connsiteX26" fmla="*/ 15987 w 67361"/>
                <a:gd name="connsiteY26" fmla="*/ 24923 h 65548"/>
                <a:gd name="connsiteX27" fmla="*/ 14589 w 67361"/>
                <a:gd name="connsiteY27" fmla="*/ 32579 h 65548"/>
                <a:gd name="connsiteX28" fmla="*/ 14589 w 67361"/>
                <a:gd name="connsiteY28" fmla="*/ 32756 h 65548"/>
                <a:gd name="connsiteX29" fmla="*/ 15987 w 67361"/>
                <a:gd name="connsiteY29" fmla="*/ 40448 h 65548"/>
                <a:gd name="connsiteX30" fmla="*/ 19969 w 67361"/>
                <a:gd name="connsiteY30" fmla="*/ 46788 h 65548"/>
                <a:gd name="connsiteX31" fmla="*/ 26037 w 67361"/>
                <a:gd name="connsiteY31" fmla="*/ 51090 h 65548"/>
                <a:gd name="connsiteX32" fmla="*/ 33776 w 67361"/>
                <a:gd name="connsiteY32" fmla="*/ 52678 h 65548"/>
                <a:gd name="connsiteX33" fmla="*/ 41467 w 67361"/>
                <a:gd name="connsiteY33" fmla="*/ 51138 h 65548"/>
                <a:gd name="connsiteX34" fmla="*/ 47487 w 67361"/>
                <a:gd name="connsiteY34" fmla="*/ 46883 h 65548"/>
                <a:gd name="connsiteX35" fmla="*/ 51387 w 67361"/>
                <a:gd name="connsiteY35" fmla="*/ 40590 h 65548"/>
                <a:gd name="connsiteX36" fmla="*/ 52785 w 67361"/>
                <a:gd name="connsiteY36" fmla="*/ 32934 h 65548"/>
                <a:gd name="connsiteX37" fmla="*/ 52785 w 67361"/>
                <a:gd name="connsiteY37" fmla="*/ 32756 h 65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7361" h="65548">
                  <a:moveTo>
                    <a:pt x="64826" y="45485"/>
                  </a:moveTo>
                  <a:cubicBezTo>
                    <a:pt x="63131" y="49443"/>
                    <a:pt x="60796" y="52903"/>
                    <a:pt x="57810" y="55902"/>
                  </a:cubicBezTo>
                  <a:cubicBezTo>
                    <a:pt x="54823" y="58900"/>
                    <a:pt x="51256" y="61247"/>
                    <a:pt x="47120" y="62965"/>
                  </a:cubicBezTo>
                  <a:cubicBezTo>
                    <a:pt x="42984" y="64683"/>
                    <a:pt x="38469" y="65548"/>
                    <a:pt x="33586" y="65548"/>
                  </a:cubicBezTo>
                  <a:cubicBezTo>
                    <a:pt x="28703" y="65548"/>
                    <a:pt x="24200" y="64683"/>
                    <a:pt x="20099" y="62965"/>
                  </a:cubicBezTo>
                  <a:cubicBezTo>
                    <a:pt x="15999" y="61247"/>
                    <a:pt x="12444" y="58924"/>
                    <a:pt x="9457" y="55996"/>
                  </a:cubicBezTo>
                  <a:cubicBezTo>
                    <a:pt x="6471" y="53069"/>
                    <a:pt x="4148" y="49632"/>
                    <a:pt x="2489" y="45674"/>
                  </a:cubicBezTo>
                  <a:cubicBezTo>
                    <a:pt x="830" y="41716"/>
                    <a:pt x="0" y="37485"/>
                    <a:pt x="0" y="32958"/>
                  </a:cubicBezTo>
                  <a:lnTo>
                    <a:pt x="0" y="32780"/>
                  </a:lnTo>
                  <a:cubicBezTo>
                    <a:pt x="0" y="28253"/>
                    <a:pt x="841" y="24010"/>
                    <a:pt x="2536" y="20064"/>
                  </a:cubicBezTo>
                  <a:cubicBezTo>
                    <a:pt x="4231" y="16118"/>
                    <a:pt x="6566" y="12645"/>
                    <a:pt x="9552" y="9647"/>
                  </a:cubicBezTo>
                  <a:cubicBezTo>
                    <a:pt x="12538" y="6660"/>
                    <a:pt x="16106" y="4302"/>
                    <a:pt x="20242" y="2584"/>
                  </a:cubicBezTo>
                  <a:cubicBezTo>
                    <a:pt x="24378" y="865"/>
                    <a:pt x="28893" y="0"/>
                    <a:pt x="33776" y="0"/>
                  </a:cubicBezTo>
                  <a:cubicBezTo>
                    <a:pt x="38658" y="0"/>
                    <a:pt x="43162" y="865"/>
                    <a:pt x="47262" y="2584"/>
                  </a:cubicBezTo>
                  <a:cubicBezTo>
                    <a:pt x="51363" y="4302"/>
                    <a:pt x="54918" y="6625"/>
                    <a:pt x="57905" y="9552"/>
                  </a:cubicBezTo>
                  <a:cubicBezTo>
                    <a:pt x="60891" y="12479"/>
                    <a:pt x="63214" y="15916"/>
                    <a:pt x="64873" y="19874"/>
                  </a:cubicBezTo>
                  <a:cubicBezTo>
                    <a:pt x="66532" y="23833"/>
                    <a:pt x="67362" y="28063"/>
                    <a:pt x="67362" y="32591"/>
                  </a:cubicBezTo>
                  <a:lnTo>
                    <a:pt x="67362" y="32768"/>
                  </a:lnTo>
                  <a:cubicBezTo>
                    <a:pt x="67362" y="37295"/>
                    <a:pt x="66520" y="41538"/>
                    <a:pt x="64826" y="45496"/>
                  </a:cubicBezTo>
                  <a:close/>
                  <a:moveTo>
                    <a:pt x="52785" y="32756"/>
                  </a:moveTo>
                  <a:cubicBezTo>
                    <a:pt x="52785" y="30043"/>
                    <a:pt x="52323" y="27471"/>
                    <a:pt x="51387" y="25065"/>
                  </a:cubicBezTo>
                  <a:cubicBezTo>
                    <a:pt x="50450" y="22647"/>
                    <a:pt x="49123" y="20538"/>
                    <a:pt x="47405" y="18725"/>
                  </a:cubicBezTo>
                  <a:cubicBezTo>
                    <a:pt x="45686" y="16912"/>
                    <a:pt x="43648" y="15478"/>
                    <a:pt x="41289" y="14423"/>
                  </a:cubicBezTo>
                  <a:cubicBezTo>
                    <a:pt x="38931" y="13368"/>
                    <a:pt x="36371" y="12835"/>
                    <a:pt x="33598" y="12835"/>
                  </a:cubicBezTo>
                  <a:cubicBezTo>
                    <a:pt x="30825" y="12835"/>
                    <a:pt x="28182" y="13344"/>
                    <a:pt x="25859" y="14375"/>
                  </a:cubicBezTo>
                  <a:cubicBezTo>
                    <a:pt x="23536" y="15406"/>
                    <a:pt x="21545" y="16817"/>
                    <a:pt x="19886" y="18630"/>
                  </a:cubicBezTo>
                  <a:cubicBezTo>
                    <a:pt x="18227" y="20443"/>
                    <a:pt x="16923" y="22541"/>
                    <a:pt x="15987" y="24923"/>
                  </a:cubicBezTo>
                  <a:cubicBezTo>
                    <a:pt x="15051" y="27305"/>
                    <a:pt x="14589" y="29853"/>
                    <a:pt x="14589" y="32579"/>
                  </a:cubicBezTo>
                  <a:lnTo>
                    <a:pt x="14589" y="32756"/>
                  </a:lnTo>
                  <a:cubicBezTo>
                    <a:pt x="14589" y="35470"/>
                    <a:pt x="15051" y="38042"/>
                    <a:pt x="15987" y="40448"/>
                  </a:cubicBezTo>
                  <a:cubicBezTo>
                    <a:pt x="16923" y="42865"/>
                    <a:pt x="18251" y="44975"/>
                    <a:pt x="19969" y="46788"/>
                  </a:cubicBezTo>
                  <a:cubicBezTo>
                    <a:pt x="21688" y="48601"/>
                    <a:pt x="23714" y="50035"/>
                    <a:pt x="26037" y="51090"/>
                  </a:cubicBezTo>
                  <a:cubicBezTo>
                    <a:pt x="28360" y="52145"/>
                    <a:pt x="30943" y="52678"/>
                    <a:pt x="33776" y="52678"/>
                  </a:cubicBezTo>
                  <a:cubicBezTo>
                    <a:pt x="36608" y="52678"/>
                    <a:pt x="39121" y="52169"/>
                    <a:pt x="41467" y="51138"/>
                  </a:cubicBezTo>
                  <a:cubicBezTo>
                    <a:pt x="43825" y="50106"/>
                    <a:pt x="45828" y="48696"/>
                    <a:pt x="47487" y="46883"/>
                  </a:cubicBezTo>
                  <a:cubicBezTo>
                    <a:pt x="49147" y="45070"/>
                    <a:pt x="50450" y="42972"/>
                    <a:pt x="51387" y="40590"/>
                  </a:cubicBezTo>
                  <a:cubicBezTo>
                    <a:pt x="52323" y="38208"/>
                    <a:pt x="52785" y="35660"/>
                    <a:pt x="52785" y="32934"/>
                  </a:cubicBezTo>
                  <a:lnTo>
                    <a:pt x="52785" y="32756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D585465-55F8-9CE1-C901-D07844093DF4}"/>
                </a:ext>
              </a:extLst>
            </p:cNvPr>
            <p:cNvSpPr/>
            <p:nvPr/>
          </p:nvSpPr>
          <p:spPr>
            <a:xfrm>
              <a:off x="2045181" y="6591543"/>
              <a:ext cx="96183" cy="64019"/>
            </a:xfrm>
            <a:custGeom>
              <a:avLst/>
              <a:gdLst>
                <a:gd name="connsiteX0" fmla="*/ 74520 w 96183"/>
                <a:gd name="connsiteY0" fmla="*/ 64020 h 64019"/>
                <a:gd name="connsiteX1" fmla="*/ 62384 w 96183"/>
                <a:gd name="connsiteY1" fmla="*/ 64020 h 64019"/>
                <a:gd name="connsiteX2" fmla="*/ 48080 w 96183"/>
                <a:gd name="connsiteY2" fmla="*/ 22553 h 64019"/>
                <a:gd name="connsiteX3" fmla="*/ 33776 w 96183"/>
                <a:gd name="connsiteY3" fmla="*/ 64020 h 64019"/>
                <a:gd name="connsiteX4" fmla="*/ 21640 w 96183"/>
                <a:gd name="connsiteY4" fmla="*/ 64020 h 64019"/>
                <a:gd name="connsiteX5" fmla="*/ 0 w 96183"/>
                <a:gd name="connsiteY5" fmla="*/ 190 h 64019"/>
                <a:gd name="connsiteX6" fmla="*/ 14944 w 96183"/>
                <a:gd name="connsiteY6" fmla="*/ 190 h 64019"/>
                <a:gd name="connsiteX7" fmla="*/ 28075 w 96183"/>
                <a:gd name="connsiteY7" fmla="*/ 43102 h 64019"/>
                <a:gd name="connsiteX8" fmla="*/ 42297 w 96183"/>
                <a:gd name="connsiteY8" fmla="*/ 0 h 64019"/>
                <a:gd name="connsiteX9" fmla="*/ 54254 w 96183"/>
                <a:gd name="connsiteY9" fmla="*/ 0 h 64019"/>
                <a:gd name="connsiteX10" fmla="*/ 68476 w 96183"/>
                <a:gd name="connsiteY10" fmla="*/ 43102 h 64019"/>
                <a:gd name="connsiteX11" fmla="*/ 81607 w 96183"/>
                <a:gd name="connsiteY11" fmla="*/ 190 h 64019"/>
                <a:gd name="connsiteX12" fmla="*/ 96184 w 96183"/>
                <a:gd name="connsiteY12" fmla="*/ 190 h 64019"/>
                <a:gd name="connsiteX13" fmla="*/ 74544 w 96183"/>
                <a:gd name="connsiteY13" fmla="*/ 64020 h 6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6183" h="64019">
                  <a:moveTo>
                    <a:pt x="74520" y="64020"/>
                  </a:moveTo>
                  <a:lnTo>
                    <a:pt x="62384" y="64020"/>
                  </a:lnTo>
                  <a:lnTo>
                    <a:pt x="48080" y="22553"/>
                  </a:lnTo>
                  <a:lnTo>
                    <a:pt x="33776" y="64020"/>
                  </a:lnTo>
                  <a:lnTo>
                    <a:pt x="21640" y="64020"/>
                  </a:lnTo>
                  <a:lnTo>
                    <a:pt x="0" y="190"/>
                  </a:lnTo>
                  <a:lnTo>
                    <a:pt x="14944" y="190"/>
                  </a:lnTo>
                  <a:lnTo>
                    <a:pt x="28075" y="43102"/>
                  </a:lnTo>
                  <a:lnTo>
                    <a:pt x="42297" y="0"/>
                  </a:lnTo>
                  <a:lnTo>
                    <a:pt x="54254" y="0"/>
                  </a:lnTo>
                  <a:lnTo>
                    <a:pt x="68476" y="43102"/>
                  </a:lnTo>
                  <a:lnTo>
                    <a:pt x="81607" y="190"/>
                  </a:lnTo>
                  <a:lnTo>
                    <a:pt x="96184" y="190"/>
                  </a:lnTo>
                  <a:lnTo>
                    <a:pt x="74544" y="64020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D85DF5A-6B3F-6020-11DE-EA7BA9C5F561}"/>
                </a:ext>
              </a:extLst>
            </p:cNvPr>
            <p:cNvSpPr/>
            <p:nvPr/>
          </p:nvSpPr>
          <p:spPr>
            <a:xfrm>
              <a:off x="1847244" y="6591863"/>
              <a:ext cx="54787" cy="63379"/>
            </a:xfrm>
            <a:custGeom>
              <a:avLst/>
              <a:gdLst>
                <a:gd name="connsiteX0" fmla="*/ 36004 w 54787"/>
                <a:gd name="connsiteY0" fmla="*/ 40744 h 63379"/>
                <a:gd name="connsiteX1" fmla="*/ 49123 w 54787"/>
                <a:gd name="connsiteY1" fmla="*/ 33633 h 63379"/>
                <a:gd name="connsiteX2" fmla="*/ 52880 w 54787"/>
                <a:gd name="connsiteY2" fmla="*/ 21095 h 63379"/>
                <a:gd name="connsiteX3" fmla="*/ 52880 w 54787"/>
                <a:gd name="connsiteY3" fmla="*/ 20917 h 63379"/>
                <a:gd name="connsiteX4" fmla="*/ 46587 w 54787"/>
                <a:gd name="connsiteY4" fmla="*/ 5523 h 63379"/>
                <a:gd name="connsiteX5" fmla="*/ 28976 w 54787"/>
                <a:gd name="connsiteY5" fmla="*/ 0 h 63379"/>
                <a:gd name="connsiteX6" fmla="*/ 0 w 54787"/>
                <a:gd name="connsiteY6" fmla="*/ 0 h 63379"/>
                <a:gd name="connsiteX7" fmla="*/ 0 w 54787"/>
                <a:gd name="connsiteY7" fmla="*/ 63380 h 63379"/>
                <a:gd name="connsiteX8" fmla="*/ 13949 w 54787"/>
                <a:gd name="connsiteY8" fmla="*/ 63380 h 63379"/>
                <a:gd name="connsiteX9" fmla="*/ 13949 w 54787"/>
                <a:gd name="connsiteY9" fmla="*/ 12586 h 63379"/>
                <a:gd name="connsiteX10" fmla="*/ 27803 w 54787"/>
                <a:gd name="connsiteY10" fmla="*/ 12586 h 63379"/>
                <a:gd name="connsiteX11" fmla="*/ 35862 w 54787"/>
                <a:gd name="connsiteY11" fmla="*/ 14849 h 63379"/>
                <a:gd name="connsiteX12" fmla="*/ 38765 w 54787"/>
                <a:gd name="connsiteY12" fmla="*/ 21640 h 63379"/>
                <a:gd name="connsiteX13" fmla="*/ 38765 w 54787"/>
                <a:gd name="connsiteY13" fmla="*/ 21818 h 63379"/>
                <a:gd name="connsiteX14" fmla="*/ 36004 w 54787"/>
                <a:gd name="connsiteY14" fmla="*/ 28336 h 63379"/>
                <a:gd name="connsiteX15" fmla="*/ 28075 w 54787"/>
                <a:gd name="connsiteY15" fmla="*/ 30777 h 63379"/>
                <a:gd name="connsiteX16" fmla="*/ 20941 w 54787"/>
                <a:gd name="connsiteY16" fmla="*/ 30777 h 63379"/>
                <a:gd name="connsiteX17" fmla="*/ 20941 w 54787"/>
                <a:gd name="connsiteY17" fmla="*/ 43091 h 63379"/>
                <a:gd name="connsiteX18" fmla="*/ 36122 w 54787"/>
                <a:gd name="connsiteY18" fmla="*/ 63368 h 63379"/>
                <a:gd name="connsiteX19" fmla="*/ 54788 w 54787"/>
                <a:gd name="connsiteY19" fmla="*/ 63368 h 63379"/>
                <a:gd name="connsiteX20" fmla="*/ 36004 w 54787"/>
                <a:gd name="connsiteY20" fmla="*/ 40732 h 63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4787" h="63379">
                  <a:moveTo>
                    <a:pt x="36004" y="40744"/>
                  </a:moveTo>
                  <a:cubicBezTo>
                    <a:pt x="43956" y="39038"/>
                    <a:pt x="46622" y="36869"/>
                    <a:pt x="49123" y="33633"/>
                  </a:cubicBezTo>
                  <a:cubicBezTo>
                    <a:pt x="51624" y="30398"/>
                    <a:pt x="52880" y="26227"/>
                    <a:pt x="52880" y="21095"/>
                  </a:cubicBezTo>
                  <a:lnTo>
                    <a:pt x="52880" y="20917"/>
                  </a:lnTo>
                  <a:cubicBezTo>
                    <a:pt x="52880" y="14340"/>
                    <a:pt x="50782" y="9208"/>
                    <a:pt x="46587" y="5523"/>
                  </a:cubicBezTo>
                  <a:cubicBezTo>
                    <a:pt x="42391" y="1837"/>
                    <a:pt x="36525" y="0"/>
                    <a:pt x="28976" y="0"/>
                  </a:cubicBezTo>
                  <a:lnTo>
                    <a:pt x="0" y="0"/>
                  </a:lnTo>
                  <a:lnTo>
                    <a:pt x="0" y="63380"/>
                  </a:lnTo>
                  <a:lnTo>
                    <a:pt x="13949" y="63380"/>
                  </a:lnTo>
                  <a:lnTo>
                    <a:pt x="13949" y="12586"/>
                  </a:lnTo>
                  <a:lnTo>
                    <a:pt x="27803" y="12586"/>
                  </a:lnTo>
                  <a:cubicBezTo>
                    <a:pt x="31240" y="12586"/>
                    <a:pt x="33930" y="13344"/>
                    <a:pt x="35862" y="14849"/>
                  </a:cubicBezTo>
                  <a:cubicBezTo>
                    <a:pt x="37793" y="16355"/>
                    <a:pt x="38765" y="18618"/>
                    <a:pt x="38765" y="21640"/>
                  </a:cubicBezTo>
                  <a:lnTo>
                    <a:pt x="38765" y="21818"/>
                  </a:lnTo>
                  <a:cubicBezTo>
                    <a:pt x="38765" y="24532"/>
                    <a:pt x="37841" y="26701"/>
                    <a:pt x="36004" y="28336"/>
                  </a:cubicBezTo>
                  <a:cubicBezTo>
                    <a:pt x="34167" y="29971"/>
                    <a:pt x="31524" y="30777"/>
                    <a:pt x="28075" y="30777"/>
                  </a:cubicBezTo>
                  <a:lnTo>
                    <a:pt x="20941" y="30777"/>
                  </a:lnTo>
                  <a:lnTo>
                    <a:pt x="20941" y="43091"/>
                  </a:lnTo>
                  <a:lnTo>
                    <a:pt x="36122" y="63368"/>
                  </a:lnTo>
                  <a:lnTo>
                    <a:pt x="54788" y="63368"/>
                  </a:lnTo>
                  <a:lnTo>
                    <a:pt x="36004" y="40732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DB1193F-9E4C-F419-D82D-5605977BDC7F}"/>
                </a:ext>
              </a:extLst>
            </p:cNvPr>
            <p:cNvSpPr/>
            <p:nvPr/>
          </p:nvSpPr>
          <p:spPr>
            <a:xfrm>
              <a:off x="1913895" y="6591863"/>
              <a:ext cx="54787" cy="63379"/>
            </a:xfrm>
            <a:custGeom>
              <a:avLst/>
              <a:gdLst>
                <a:gd name="connsiteX0" fmla="*/ 36004 w 54787"/>
                <a:gd name="connsiteY0" fmla="*/ 40744 h 63379"/>
                <a:gd name="connsiteX1" fmla="*/ 49123 w 54787"/>
                <a:gd name="connsiteY1" fmla="*/ 33633 h 63379"/>
                <a:gd name="connsiteX2" fmla="*/ 52880 w 54787"/>
                <a:gd name="connsiteY2" fmla="*/ 21095 h 63379"/>
                <a:gd name="connsiteX3" fmla="*/ 52880 w 54787"/>
                <a:gd name="connsiteY3" fmla="*/ 20917 h 63379"/>
                <a:gd name="connsiteX4" fmla="*/ 46587 w 54787"/>
                <a:gd name="connsiteY4" fmla="*/ 5523 h 63379"/>
                <a:gd name="connsiteX5" fmla="*/ 28976 w 54787"/>
                <a:gd name="connsiteY5" fmla="*/ 0 h 63379"/>
                <a:gd name="connsiteX6" fmla="*/ 0 w 54787"/>
                <a:gd name="connsiteY6" fmla="*/ 0 h 63379"/>
                <a:gd name="connsiteX7" fmla="*/ 0 w 54787"/>
                <a:gd name="connsiteY7" fmla="*/ 63380 h 63379"/>
                <a:gd name="connsiteX8" fmla="*/ 13949 w 54787"/>
                <a:gd name="connsiteY8" fmla="*/ 63380 h 63379"/>
                <a:gd name="connsiteX9" fmla="*/ 13949 w 54787"/>
                <a:gd name="connsiteY9" fmla="*/ 12586 h 63379"/>
                <a:gd name="connsiteX10" fmla="*/ 27803 w 54787"/>
                <a:gd name="connsiteY10" fmla="*/ 12586 h 63379"/>
                <a:gd name="connsiteX11" fmla="*/ 35862 w 54787"/>
                <a:gd name="connsiteY11" fmla="*/ 14849 h 63379"/>
                <a:gd name="connsiteX12" fmla="*/ 38765 w 54787"/>
                <a:gd name="connsiteY12" fmla="*/ 21640 h 63379"/>
                <a:gd name="connsiteX13" fmla="*/ 38765 w 54787"/>
                <a:gd name="connsiteY13" fmla="*/ 21818 h 63379"/>
                <a:gd name="connsiteX14" fmla="*/ 36004 w 54787"/>
                <a:gd name="connsiteY14" fmla="*/ 28336 h 63379"/>
                <a:gd name="connsiteX15" fmla="*/ 28075 w 54787"/>
                <a:gd name="connsiteY15" fmla="*/ 30777 h 63379"/>
                <a:gd name="connsiteX16" fmla="*/ 20941 w 54787"/>
                <a:gd name="connsiteY16" fmla="*/ 30777 h 63379"/>
                <a:gd name="connsiteX17" fmla="*/ 20941 w 54787"/>
                <a:gd name="connsiteY17" fmla="*/ 43091 h 63379"/>
                <a:gd name="connsiteX18" fmla="*/ 36122 w 54787"/>
                <a:gd name="connsiteY18" fmla="*/ 63368 h 63379"/>
                <a:gd name="connsiteX19" fmla="*/ 54788 w 54787"/>
                <a:gd name="connsiteY19" fmla="*/ 63368 h 63379"/>
                <a:gd name="connsiteX20" fmla="*/ 36004 w 54787"/>
                <a:gd name="connsiteY20" fmla="*/ 40732 h 63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4787" h="63379">
                  <a:moveTo>
                    <a:pt x="36004" y="40744"/>
                  </a:moveTo>
                  <a:cubicBezTo>
                    <a:pt x="43956" y="39038"/>
                    <a:pt x="46622" y="36869"/>
                    <a:pt x="49123" y="33633"/>
                  </a:cubicBezTo>
                  <a:cubicBezTo>
                    <a:pt x="51624" y="30398"/>
                    <a:pt x="52880" y="26227"/>
                    <a:pt x="52880" y="21095"/>
                  </a:cubicBezTo>
                  <a:lnTo>
                    <a:pt x="52880" y="20917"/>
                  </a:lnTo>
                  <a:cubicBezTo>
                    <a:pt x="52880" y="14340"/>
                    <a:pt x="50782" y="9208"/>
                    <a:pt x="46587" y="5523"/>
                  </a:cubicBezTo>
                  <a:cubicBezTo>
                    <a:pt x="42391" y="1837"/>
                    <a:pt x="36525" y="0"/>
                    <a:pt x="28976" y="0"/>
                  </a:cubicBezTo>
                  <a:lnTo>
                    <a:pt x="0" y="0"/>
                  </a:lnTo>
                  <a:lnTo>
                    <a:pt x="0" y="63380"/>
                  </a:lnTo>
                  <a:lnTo>
                    <a:pt x="13949" y="63380"/>
                  </a:lnTo>
                  <a:lnTo>
                    <a:pt x="13949" y="12586"/>
                  </a:lnTo>
                  <a:lnTo>
                    <a:pt x="27803" y="12586"/>
                  </a:lnTo>
                  <a:cubicBezTo>
                    <a:pt x="31240" y="12586"/>
                    <a:pt x="33930" y="13344"/>
                    <a:pt x="35862" y="14849"/>
                  </a:cubicBezTo>
                  <a:cubicBezTo>
                    <a:pt x="37793" y="16355"/>
                    <a:pt x="38765" y="18618"/>
                    <a:pt x="38765" y="21640"/>
                  </a:cubicBezTo>
                  <a:lnTo>
                    <a:pt x="38765" y="21818"/>
                  </a:lnTo>
                  <a:cubicBezTo>
                    <a:pt x="38765" y="24532"/>
                    <a:pt x="37841" y="26701"/>
                    <a:pt x="36004" y="28336"/>
                  </a:cubicBezTo>
                  <a:cubicBezTo>
                    <a:pt x="34167" y="29971"/>
                    <a:pt x="31524" y="30777"/>
                    <a:pt x="28075" y="30777"/>
                  </a:cubicBezTo>
                  <a:lnTo>
                    <a:pt x="20941" y="30777"/>
                  </a:lnTo>
                  <a:lnTo>
                    <a:pt x="20941" y="43091"/>
                  </a:lnTo>
                  <a:lnTo>
                    <a:pt x="36122" y="63368"/>
                  </a:lnTo>
                  <a:lnTo>
                    <a:pt x="54788" y="63368"/>
                  </a:lnTo>
                  <a:lnTo>
                    <a:pt x="36004" y="40732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E212640-8526-C921-DD06-30102F1DAE88}"/>
              </a:ext>
            </a:extLst>
          </p:cNvPr>
          <p:cNvGrpSpPr/>
          <p:nvPr userDrawn="1"/>
        </p:nvGrpSpPr>
        <p:grpSpPr>
          <a:xfrm>
            <a:off x="289932" y="6281977"/>
            <a:ext cx="11584177" cy="129643"/>
            <a:chOff x="-20516" y="2052871"/>
            <a:chExt cx="17746191" cy="198605"/>
          </a:xfrm>
        </p:grpSpPr>
        <p:sp>
          <p:nvSpPr>
            <p:cNvPr id="31" name="AutoShape 24">
              <a:extLst>
                <a:ext uri="{FF2B5EF4-FFF2-40B4-BE49-F238E27FC236}">
                  <a16:creationId xmlns:a16="http://schemas.microsoft.com/office/drawing/2014/main" id="{7F1C171B-B5E0-433C-56E9-BC438DABAC84}"/>
                </a:ext>
              </a:extLst>
            </p:cNvPr>
            <p:cNvSpPr/>
            <p:nvPr/>
          </p:nvSpPr>
          <p:spPr>
            <a:xfrm flipV="1">
              <a:off x="1032935" y="2052871"/>
              <a:ext cx="16692740" cy="0"/>
            </a:xfrm>
            <a:prstGeom prst="line">
              <a:avLst/>
            </a:prstGeom>
            <a:ln w="28575" cap="flat">
              <a:solidFill>
                <a:schemeClr val="bg1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ZA">
                <a:solidFill>
                  <a:srgbClr val="1D428A"/>
                </a:solidFill>
              </a:endParaRPr>
            </a:p>
          </p:txBody>
        </p:sp>
        <p:sp>
          <p:nvSpPr>
            <p:cNvPr id="32" name="AutoShape 24">
              <a:extLst>
                <a:ext uri="{FF2B5EF4-FFF2-40B4-BE49-F238E27FC236}">
                  <a16:creationId xmlns:a16="http://schemas.microsoft.com/office/drawing/2014/main" id="{0967097A-F571-2B10-BBDC-0FD07500F446}"/>
                </a:ext>
              </a:extLst>
            </p:cNvPr>
            <p:cNvSpPr/>
            <p:nvPr/>
          </p:nvSpPr>
          <p:spPr>
            <a:xfrm flipV="1">
              <a:off x="-20516" y="2052877"/>
              <a:ext cx="927307" cy="0"/>
            </a:xfrm>
            <a:prstGeom prst="line">
              <a:avLst/>
            </a:prstGeom>
            <a:ln w="28575" cap="flat">
              <a:solidFill>
                <a:schemeClr val="bg1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ZA">
                <a:solidFill>
                  <a:srgbClr val="1D428A"/>
                </a:solidFill>
              </a:endParaRPr>
            </a:p>
          </p:txBody>
        </p:sp>
        <p:sp>
          <p:nvSpPr>
            <p:cNvPr id="33" name="AutoShape 24">
              <a:extLst>
                <a:ext uri="{FF2B5EF4-FFF2-40B4-BE49-F238E27FC236}">
                  <a16:creationId xmlns:a16="http://schemas.microsoft.com/office/drawing/2014/main" id="{3375EB31-E4BA-DB6B-C81C-8F96E881EC61}"/>
                </a:ext>
              </a:extLst>
            </p:cNvPr>
            <p:cNvSpPr/>
            <p:nvPr/>
          </p:nvSpPr>
          <p:spPr>
            <a:xfrm flipH="1" flipV="1">
              <a:off x="968334" y="2131093"/>
              <a:ext cx="0" cy="120383"/>
            </a:xfrm>
            <a:prstGeom prst="line">
              <a:avLst/>
            </a:prstGeom>
            <a:ln w="28575" cap="flat">
              <a:solidFill>
                <a:schemeClr val="bg1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ZA">
                <a:solidFill>
                  <a:srgbClr val="1D428A"/>
                </a:solidFill>
              </a:endParaRPr>
            </a:p>
          </p:txBody>
        </p:sp>
      </p:grp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067CDE09-F5D2-06D2-50F5-F33A407F23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7889" y="1050288"/>
            <a:ext cx="11556218" cy="3051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tabLst>
                <a:tab pos="1435100" algn="l"/>
              </a:tabLst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subheading tex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E9A6058-C601-D4DA-8360-D2B2B2EC993E}"/>
              </a:ext>
            </a:extLst>
          </p:cNvPr>
          <p:cNvSpPr txBox="1"/>
          <p:nvPr userDrawn="1"/>
        </p:nvSpPr>
        <p:spPr>
          <a:xfrm>
            <a:off x="3047114" y="6611779"/>
            <a:ext cx="609777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AU" sz="1000">
                <a:solidFill>
                  <a:schemeClr val="bg1"/>
                </a:solidFill>
              </a:rPr>
              <a:t>CONFIDENTIAL MATERIAL – DO NOT DISTRIBUTE </a:t>
            </a:r>
          </a:p>
        </p:txBody>
      </p:sp>
    </p:spTree>
    <p:extLst>
      <p:ext uri="{BB962C8B-B14F-4D97-AF65-F5344CB8AC3E}">
        <p14:creationId xmlns:p14="http://schemas.microsoft.com/office/powerpoint/2010/main" val="812628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883D9369-050D-730D-4C45-DB34A147713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1E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4" name="AutoShape 24">
            <a:extLst>
              <a:ext uri="{FF2B5EF4-FFF2-40B4-BE49-F238E27FC236}">
                <a16:creationId xmlns:a16="http://schemas.microsoft.com/office/drawing/2014/main" id="{386AC10F-0110-D7B5-2A6C-5C2031B88D51}"/>
              </a:ext>
            </a:extLst>
          </p:cNvPr>
          <p:cNvSpPr/>
          <p:nvPr userDrawn="1"/>
        </p:nvSpPr>
        <p:spPr>
          <a:xfrm flipV="1">
            <a:off x="1346022" y="4109329"/>
            <a:ext cx="5908218" cy="0"/>
          </a:xfrm>
          <a:prstGeom prst="line">
            <a:avLst/>
          </a:prstGeom>
          <a:ln w="28575" cap="flat">
            <a:solidFill>
              <a:srgbClr val="B8D8EB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ZA">
              <a:solidFill>
                <a:srgbClr val="F4F9FD"/>
              </a:solidFill>
            </a:endParaRPr>
          </a:p>
        </p:txBody>
      </p:sp>
      <p:sp>
        <p:nvSpPr>
          <p:cNvPr id="25" name="AutoShape 24">
            <a:extLst>
              <a:ext uri="{FF2B5EF4-FFF2-40B4-BE49-F238E27FC236}">
                <a16:creationId xmlns:a16="http://schemas.microsoft.com/office/drawing/2014/main" id="{D96F9BC0-D845-B5DC-2208-BCAF21113306}"/>
              </a:ext>
            </a:extLst>
          </p:cNvPr>
          <p:cNvSpPr/>
          <p:nvPr userDrawn="1"/>
        </p:nvSpPr>
        <p:spPr>
          <a:xfrm flipV="1">
            <a:off x="0" y="4109329"/>
            <a:ext cx="1117340" cy="0"/>
          </a:xfrm>
          <a:prstGeom prst="line">
            <a:avLst/>
          </a:prstGeom>
          <a:ln w="28575" cap="flat">
            <a:solidFill>
              <a:srgbClr val="FFC73D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ZA">
              <a:solidFill>
                <a:srgbClr val="F4F9FD"/>
              </a:solidFill>
            </a:endParaRPr>
          </a:p>
        </p:txBody>
      </p:sp>
      <p:sp>
        <p:nvSpPr>
          <p:cNvPr id="26" name="AutoShape 24">
            <a:extLst>
              <a:ext uri="{FF2B5EF4-FFF2-40B4-BE49-F238E27FC236}">
                <a16:creationId xmlns:a16="http://schemas.microsoft.com/office/drawing/2014/main" id="{7BCC32ED-4EEC-A13E-69FC-189DF839C767}"/>
              </a:ext>
            </a:extLst>
          </p:cNvPr>
          <p:cNvSpPr/>
          <p:nvPr userDrawn="1"/>
        </p:nvSpPr>
        <p:spPr>
          <a:xfrm flipH="1" flipV="1">
            <a:off x="1239520" y="4239172"/>
            <a:ext cx="0" cy="475068"/>
          </a:xfrm>
          <a:prstGeom prst="line">
            <a:avLst/>
          </a:prstGeom>
          <a:ln w="28575" cap="flat">
            <a:solidFill>
              <a:srgbClr val="3A8DDE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ZA">
              <a:solidFill>
                <a:srgbClr val="F4F9FD"/>
              </a:solidFill>
            </a:endParaRPr>
          </a:p>
        </p:txBody>
      </p:sp>
      <p:sp>
        <p:nvSpPr>
          <p:cNvPr id="30" name="Title 13">
            <a:extLst>
              <a:ext uri="{FF2B5EF4-FFF2-40B4-BE49-F238E27FC236}">
                <a16:creationId xmlns:a16="http://schemas.microsoft.com/office/drawing/2014/main" id="{74652814-83BE-3498-F957-09BB74DB91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46022" y="2748671"/>
            <a:ext cx="5908218" cy="96434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ub-divider slide title</a:t>
            </a:r>
            <a:endParaRPr lang="en-ZA"/>
          </a:p>
        </p:txBody>
      </p:sp>
      <p:sp>
        <p:nvSpPr>
          <p:cNvPr id="31" name="Slide Number Placeholder 2">
            <a:extLst>
              <a:ext uri="{FF2B5EF4-FFF2-40B4-BE49-F238E27FC236}">
                <a16:creationId xmlns:a16="http://schemas.microsoft.com/office/drawing/2014/main" id="{BD4C7530-413C-3F9F-5234-E60CCC4945F9}"/>
              </a:ext>
            </a:extLst>
          </p:cNvPr>
          <p:cNvSpPr txBox="1">
            <a:spLocks/>
          </p:cNvSpPr>
          <p:nvPr userDrawn="1"/>
        </p:nvSpPr>
        <p:spPr>
          <a:xfrm>
            <a:off x="10925833" y="6419828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1C7A307-A3D2-60CF-09CB-E0A9277869AB}"/>
              </a:ext>
            </a:extLst>
          </p:cNvPr>
          <p:cNvSpPr txBox="1"/>
          <p:nvPr userDrawn="1"/>
        </p:nvSpPr>
        <p:spPr>
          <a:xfrm>
            <a:off x="3047114" y="6611779"/>
            <a:ext cx="609777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AU" sz="1000">
                <a:solidFill>
                  <a:schemeClr val="bg1"/>
                </a:solidFill>
              </a:rPr>
              <a:t>CONFIDENTIAL MATERIAL – DO NOT DISTRIBUTE </a:t>
            </a:r>
          </a:p>
        </p:txBody>
      </p:sp>
    </p:spTree>
    <p:extLst>
      <p:ext uri="{BB962C8B-B14F-4D97-AF65-F5344CB8AC3E}">
        <p14:creationId xmlns:p14="http://schemas.microsoft.com/office/powerpoint/2010/main" val="1596743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 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0E3500-6A13-9068-9ABD-B2EFA824A4D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1E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97C4A72-890C-2BE9-26D0-833BB7A56A09}"/>
              </a:ext>
            </a:extLst>
          </p:cNvPr>
          <p:cNvGrpSpPr/>
          <p:nvPr userDrawn="1"/>
        </p:nvGrpSpPr>
        <p:grpSpPr>
          <a:xfrm>
            <a:off x="0" y="6065539"/>
            <a:ext cx="4561289" cy="651399"/>
            <a:chOff x="241531" y="4109329"/>
            <a:chExt cx="4561289" cy="651399"/>
          </a:xfrm>
        </p:grpSpPr>
        <p:sp>
          <p:nvSpPr>
            <p:cNvPr id="7" name="AutoShape 24">
              <a:extLst>
                <a:ext uri="{FF2B5EF4-FFF2-40B4-BE49-F238E27FC236}">
                  <a16:creationId xmlns:a16="http://schemas.microsoft.com/office/drawing/2014/main" id="{BA25E02F-7B93-54A1-4DFC-A4D3122EE0EC}"/>
                </a:ext>
              </a:extLst>
            </p:cNvPr>
            <p:cNvSpPr/>
            <p:nvPr/>
          </p:nvSpPr>
          <p:spPr>
            <a:xfrm flipV="1">
              <a:off x="1346022" y="4109329"/>
              <a:ext cx="3456798" cy="0"/>
            </a:xfrm>
            <a:prstGeom prst="line">
              <a:avLst/>
            </a:prstGeom>
            <a:ln w="38100" cap="flat">
              <a:solidFill>
                <a:srgbClr val="B8D8EB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ZA">
                <a:solidFill>
                  <a:srgbClr val="F4F9FD"/>
                </a:solidFill>
              </a:endParaRPr>
            </a:p>
          </p:txBody>
        </p:sp>
        <p:sp>
          <p:nvSpPr>
            <p:cNvPr id="8" name="AutoShape 24">
              <a:extLst>
                <a:ext uri="{FF2B5EF4-FFF2-40B4-BE49-F238E27FC236}">
                  <a16:creationId xmlns:a16="http://schemas.microsoft.com/office/drawing/2014/main" id="{045C49D8-E8AB-D840-2BE4-E97F219E382A}"/>
                </a:ext>
              </a:extLst>
            </p:cNvPr>
            <p:cNvSpPr/>
            <p:nvPr/>
          </p:nvSpPr>
          <p:spPr>
            <a:xfrm flipV="1">
              <a:off x="241531" y="4109329"/>
              <a:ext cx="875808" cy="0"/>
            </a:xfrm>
            <a:prstGeom prst="line">
              <a:avLst/>
            </a:prstGeom>
            <a:ln w="38100" cap="flat">
              <a:solidFill>
                <a:srgbClr val="FFC73D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ZA">
                <a:solidFill>
                  <a:srgbClr val="F4F9FD"/>
                </a:solidFill>
              </a:endParaRPr>
            </a:p>
          </p:txBody>
        </p:sp>
        <p:sp>
          <p:nvSpPr>
            <p:cNvPr id="9" name="AutoShape 24">
              <a:extLst>
                <a:ext uri="{FF2B5EF4-FFF2-40B4-BE49-F238E27FC236}">
                  <a16:creationId xmlns:a16="http://schemas.microsoft.com/office/drawing/2014/main" id="{834DF881-3D04-7D78-D11D-15E900F05E6A}"/>
                </a:ext>
              </a:extLst>
            </p:cNvPr>
            <p:cNvSpPr/>
            <p:nvPr/>
          </p:nvSpPr>
          <p:spPr>
            <a:xfrm flipH="1" flipV="1">
              <a:off x="1239520" y="4239172"/>
              <a:ext cx="0" cy="521556"/>
            </a:xfrm>
            <a:prstGeom prst="line">
              <a:avLst/>
            </a:prstGeom>
            <a:ln w="38100" cap="flat">
              <a:solidFill>
                <a:srgbClr val="3A8DDE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ZA">
                <a:solidFill>
                  <a:srgbClr val="F4F9FD"/>
                </a:soli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43D268BF-9D4A-2E7C-6C90-D24FA4A339A1}"/>
              </a:ext>
            </a:extLst>
          </p:cNvPr>
          <p:cNvGrpSpPr/>
          <p:nvPr userDrawn="1"/>
        </p:nvGrpSpPr>
        <p:grpSpPr>
          <a:xfrm>
            <a:off x="6993832" y="772226"/>
            <a:ext cx="5208216" cy="651399"/>
            <a:chOff x="-2844290" y="4109329"/>
            <a:chExt cx="5208216" cy="651399"/>
          </a:xfrm>
        </p:grpSpPr>
        <p:sp>
          <p:nvSpPr>
            <p:cNvPr id="11" name="AutoShape 24">
              <a:extLst>
                <a:ext uri="{FF2B5EF4-FFF2-40B4-BE49-F238E27FC236}">
                  <a16:creationId xmlns:a16="http://schemas.microsoft.com/office/drawing/2014/main" id="{F127BDD2-3969-FEFB-3420-F86CDED88A31}"/>
                </a:ext>
              </a:extLst>
            </p:cNvPr>
            <p:cNvSpPr/>
            <p:nvPr/>
          </p:nvSpPr>
          <p:spPr>
            <a:xfrm flipV="1">
              <a:off x="1346022" y="4109329"/>
              <a:ext cx="1017904" cy="0"/>
            </a:xfrm>
            <a:prstGeom prst="line">
              <a:avLst/>
            </a:prstGeom>
            <a:ln w="38100" cap="flat">
              <a:solidFill>
                <a:srgbClr val="B8D8EB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ZA">
                <a:solidFill>
                  <a:srgbClr val="F4F9FD"/>
                </a:solidFill>
              </a:endParaRPr>
            </a:p>
          </p:txBody>
        </p:sp>
        <p:sp>
          <p:nvSpPr>
            <p:cNvPr id="12" name="AutoShape 24">
              <a:extLst>
                <a:ext uri="{FF2B5EF4-FFF2-40B4-BE49-F238E27FC236}">
                  <a16:creationId xmlns:a16="http://schemas.microsoft.com/office/drawing/2014/main" id="{4C5275EB-0E52-0B99-423F-4A94F17E764D}"/>
                </a:ext>
              </a:extLst>
            </p:cNvPr>
            <p:cNvSpPr/>
            <p:nvPr/>
          </p:nvSpPr>
          <p:spPr>
            <a:xfrm flipV="1">
              <a:off x="-2844290" y="4109329"/>
              <a:ext cx="3961630" cy="0"/>
            </a:xfrm>
            <a:prstGeom prst="line">
              <a:avLst/>
            </a:prstGeom>
            <a:ln w="38100" cap="flat">
              <a:solidFill>
                <a:srgbClr val="FFC73D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ZA">
                <a:solidFill>
                  <a:srgbClr val="F4F9FD"/>
                </a:solidFill>
              </a:endParaRPr>
            </a:p>
          </p:txBody>
        </p:sp>
        <p:sp>
          <p:nvSpPr>
            <p:cNvPr id="13" name="AutoShape 24">
              <a:extLst>
                <a:ext uri="{FF2B5EF4-FFF2-40B4-BE49-F238E27FC236}">
                  <a16:creationId xmlns:a16="http://schemas.microsoft.com/office/drawing/2014/main" id="{3077EEC2-8831-27A1-A044-5DF4E1A12CF7}"/>
                </a:ext>
              </a:extLst>
            </p:cNvPr>
            <p:cNvSpPr/>
            <p:nvPr/>
          </p:nvSpPr>
          <p:spPr>
            <a:xfrm flipH="1" flipV="1">
              <a:off x="1239520" y="4239172"/>
              <a:ext cx="0" cy="521556"/>
            </a:xfrm>
            <a:prstGeom prst="line">
              <a:avLst/>
            </a:prstGeom>
            <a:ln w="38100" cap="flat">
              <a:solidFill>
                <a:srgbClr val="3A8DDE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ZA">
                <a:solidFill>
                  <a:srgbClr val="F4F9FD"/>
                </a:solidFill>
              </a:endParaRPr>
            </a:p>
          </p:txBody>
        </p:sp>
      </p:grpSp>
      <p:sp>
        <p:nvSpPr>
          <p:cNvPr id="14" name="Title 13">
            <a:extLst>
              <a:ext uri="{FF2B5EF4-FFF2-40B4-BE49-F238E27FC236}">
                <a16:creationId xmlns:a16="http://schemas.microsoft.com/office/drawing/2014/main" id="{250DCBBA-45B3-0C1C-BA04-8AED4E88EF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72640" y="1826933"/>
            <a:ext cx="8446720" cy="3204134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call out slide title</a:t>
            </a:r>
            <a:endParaRPr lang="en-ZA"/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572C2052-D05E-0280-88F8-2881EFFF38C5}"/>
              </a:ext>
            </a:extLst>
          </p:cNvPr>
          <p:cNvSpPr txBox="1">
            <a:spLocks/>
          </p:cNvSpPr>
          <p:nvPr userDrawn="1"/>
        </p:nvSpPr>
        <p:spPr>
          <a:xfrm>
            <a:off x="10925833" y="6419828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D5FC4E-C66E-0A32-EA5E-C2D680D105F9}"/>
              </a:ext>
            </a:extLst>
          </p:cNvPr>
          <p:cNvSpPr txBox="1"/>
          <p:nvPr userDrawn="1"/>
        </p:nvSpPr>
        <p:spPr>
          <a:xfrm>
            <a:off x="3047114" y="6611779"/>
            <a:ext cx="609777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AU" sz="1000">
                <a:solidFill>
                  <a:schemeClr val="bg1"/>
                </a:solidFill>
              </a:rPr>
              <a:t>CONFIDENTIAL MATERIAL – DO NOT DISTRIBUTE </a:t>
            </a:r>
          </a:p>
        </p:txBody>
      </p:sp>
    </p:spTree>
    <p:extLst>
      <p:ext uri="{BB962C8B-B14F-4D97-AF65-F5344CB8AC3E}">
        <p14:creationId xmlns:p14="http://schemas.microsoft.com/office/powerpoint/2010/main" val="2125756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5D1A88F-61A0-231F-8430-DA7CF8E3CE00}"/>
              </a:ext>
            </a:extLst>
          </p:cNvPr>
          <p:cNvSpPr/>
          <p:nvPr userDrawn="1"/>
        </p:nvSpPr>
        <p:spPr>
          <a:xfrm flipH="1">
            <a:off x="0" y="0"/>
            <a:ext cx="3641346" cy="6858000"/>
          </a:xfrm>
          <a:prstGeom prst="rect">
            <a:avLst/>
          </a:prstGeom>
          <a:solidFill>
            <a:srgbClr val="001E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chemeClr val="bg1"/>
              </a:solidFill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1FD76B72-4720-0ABD-1A93-DD27F4DE28EB}"/>
              </a:ext>
            </a:extLst>
          </p:cNvPr>
          <p:cNvSpPr txBox="1">
            <a:spLocks/>
          </p:cNvSpPr>
          <p:nvPr userDrawn="1"/>
        </p:nvSpPr>
        <p:spPr>
          <a:xfrm>
            <a:off x="10925833" y="6419828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1E3C"/>
                </a:solidFill>
                <a:effectLst/>
                <a:uLnTx/>
                <a:uFillTx/>
                <a:latin typeface="Avenir Next LT Pro" panose="020B05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1E3C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7623BD8-56FB-11F9-4991-BBFAA39A65FF}"/>
              </a:ext>
            </a:extLst>
          </p:cNvPr>
          <p:cNvGrpSpPr/>
          <p:nvPr userDrawn="1"/>
        </p:nvGrpSpPr>
        <p:grpSpPr>
          <a:xfrm>
            <a:off x="289932" y="6281977"/>
            <a:ext cx="3072104" cy="266800"/>
            <a:chOff x="289932" y="6281977"/>
            <a:chExt cx="3072104" cy="266800"/>
          </a:xfrm>
          <a:solidFill>
            <a:schemeClr val="bg1"/>
          </a:solidFill>
        </p:grpSpPr>
        <p:grpSp>
          <p:nvGrpSpPr>
            <p:cNvPr id="15" name="Graphic 25">
              <a:extLst>
                <a:ext uri="{FF2B5EF4-FFF2-40B4-BE49-F238E27FC236}">
                  <a16:creationId xmlns:a16="http://schemas.microsoft.com/office/drawing/2014/main" id="{2344EBB8-3B14-5CEE-E3B0-6361146A7313}"/>
                </a:ext>
              </a:extLst>
            </p:cNvPr>
            <p:cNvGrpSpPr/>
            <p:nvPr/>
          </p:nvGrpSpPr>
          <p:grpSpPr>
            <a:xfrm>
              <a:off x="641802" y="6483229"/>
              <a:ext cx="588657" cy="65548"/>
              <a:chOff x="1552708" y="6590654"/>
              <a:chExt cx="588657" cy="65548"/>
            </a:xfrm>
            <a:grpFill/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54A2F3DA-5931-098B-8A08-F53F7EB61CF7}"/>
                  </a:ext>
                </a:extLst>
              </p:cNvPr>
              <p:cNvSpPr/>
              <p:nvPr/>
            </p:nvSpPr>
            <p:spPr>
              <a:xfrm>
                <a:off x="1552708" y="6591721"/>
                <a:ext cx="52512" cy="63379"/>
              </a:xfrm>
              <a:custGeom>
                <a:avLst/>
                <a:gdLst>
                  <a:gd name="connsiteX0" fmla="*/ 33231 w 52512"/>
                  <a:gd name="connsiteY0" fmla="*/ 12858 h 63379"/>
                  <a:gd name="connsiteX1" fmla="*/ 33231 w 52512"/>
                  <a:gd name="connsiteY1" fmla="*/ 63380 h 63379"/>
                  <a:gd name="connsiteX2" fmla="*/ 19282 w 52512"/>
                  <a:gd name="connsiteY2" fmla="*/ 63380 h 63379"/>
                  <a:gd name="connsiteX3" fmla="*/ 19282 w 52512"/>
                  <a:gd name="connsiteY3" fmla="*/ 12858 h 63379"/>
                  <a:gd name="connsiteX4" fmla="*/ 0 w 52512"/>
                  <a:gd name="connsiteY4" fmla="*/ 12858 h 63379"/>
                  <a:gd name="connsiteX5" fmla="*/ 0 w 52512"/>
                  <a:gd name="connsiteY5" fmla="*/ 0 h 63379"/>
                  <a:gd name="connsiteX6" fmla="*/ 52512 w 52512"/>
                  <a:gd name="connsiteY6" fmla="*/ 0 h 63379"/>
                  <a:gd name="connsiteX7" fmla="*/ 52512 w 52512"/>
                  <a:gd name="connsiteY7" fmla="*/ 12858 h 63379"/>
                  <a:gd name="connsiteX8" fmla="*/ 33231 w 52512"/>
                  <a:gd name="connsiteY8" fmla="*/ 12858 h 63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512" h="63379">
                    <a:moveTo>
                      <a:pt x="33231" y="12858"/>
                    </a:moveTo>
                    <a:lnTo>
                      <a:pt x="33231" y="63380"/>
                    </a:lnTo>
                    <a:lnTo>
                      <a:pt x="19282" y="63380"/>
                    </a:lnTo>
                    <a:lnTo>
                      <a:pt x="19282" y="12858"/>
                    </a:lnTo>
                    <a:lnTo>
                      <a:pt x="0" y="12858"/>
                    </a:lnTo>
                    <a:lnTo>
                      <a:pt x="0" y="0"/>
                    </a:lnTo>
                    <a:lnTo>
                      <a:pt x="52512" y="0"/>
                    </a:lnTo>
                    <a:lnTo>
                      <a:pt x="52512" y="12858"/>
                    </a:lnTo>
                    <a:lnTo>
                      <a:pt x="33231" y="12858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2DF2FEC6-0BB6-23E6-A7EF-D56C3B586D2A}"/>
                  </a:ext>
                </a:extLst>
              </p:cNvPr>
              <p:cNvSpPr/>
              <p:nvPr/>
            </p:nvSpPr>
            <p:spPr>
              <a:xfrm>
                <a:off x="1613113" y="6590654"/>
                <a:ext cx="67361" cy="65548"/>
              </a:xfrm>
              <a:custGeom>
                <a:avLst/>
                <a:gdLst>
                  <a:gd name="connsiteX0" fmla="*/ 64826 w 67361"/>
                  <a:gd name="connsiteY0" fmla="*/ 45485 h 65548"/>
                  <a:gd name="connsiteX1" fmla="*/ 57810 w 67361"/>
                  <a:gd name="connsiteY1" fmla="*/ 55902 h 65548"/>
                  <a:gd name="connsiteX2" fmla="*/ 47120 w 67361"/>
                  <a:gd name="connsiteY2" fmla="*/ 62965 h 65548"/>
                  <a:gd name="connsiteX3" fmla="*/ 33586 w 67361"/>
                  <a:gd name="connsiteY3" fmla="*/ 65548 h 65548"/>
                  <a:gd name="connsiteX4" fmla="*/ 20100 w 67361"/>
                  <a:gd name="connsiteY4" fmla="*/ 62965 h 65548"/>
                  <a:gd name="connsiteX5" fmla="*/ 9457 w 67361"/>
                  <a:gd name="connsiteY5" fmla="*/ 55996 h 65548"/>
                  <a:gd name="connsiteX6" fmla="*/ 2489 w 67361"/>
                  <a:gd name="connsiteY6" fmla="*/ 45674 h 65548"/>
                  <a:gd name="connsiteX7" fmla="*/ 0 w 67361"/>
                  <a:gd name="connsiteY7" fmla="*/ 32958 h 65548"/>
                  <a:gd name="connsiteX8" fmla="*/ 0 w 67361"/>
                  <a:gd name="connsiteY8" fmla="*/ 32780 h 65548"/>
                  <a:gd name="connsiteX9" fmla="*/ 2536 w 67361"/>
                  <a:gd name="connsiteY9" fmla="*/ 20064 h 65548"/>
                  <a:gd name="connsiteX10" fmla="*/ 9552 w 67361"/>
                  <a:gd name="connsiteY10" fmla="*/ 9647 h 65548"/>
                  <a:gd name="connsiteX11" fmla="*/ 20242 w 67361"/>
                  <a:gd name="connsiteY11" fmla="*/ 2584 h 65548"/>
                  <a:gd name="connsiteX12" fmla="*/ 33776 w 67361"/>
                  <a:gd name="connsiteY12" fmla="*/ 0 h 65548"/>
                  <a:gd name="connsiteX13" fmla="*/ 47262 w 67361"/>
                  <a:gd name="connsiteY13" fmla="*/ 2584 h 65548"/>
                  <a:gd name="connsiteX14" fmla="*/ 57905 w 67361"/>
                  <a:gd name="connsiteY14" fmla="*/ 9552 h 65548"/>
                  <a:gd name="connsiteX15" fmla="*/ 64873 w 67361"/>
                  <a:gd name="connsiteY15" fmla="*/ 19874 h 65548"/>
                  <a:gd name="connsiteX16" fmla="*/ 67362 w 67361"/>
                  <a:gd name="connsiteY16" fmla="*/ 32591 h 65548"/>
                  <a:gd name="connsiteX17" fmla="*/ 67362 w 67361"/>
                  <a:gd name="connsiteY17" fmla="*/ 32768 h 65548"/>
                  <a:gd name="connsiteX18" fmla="*/ 64826 w 67361"/>
                  <a:gd name="connsiteY18" fmla="*/ 45496 h 65548"/>
                  <a:gd name="connsiteX19" fmla="*/ 52785 w 67361"/>
                  <a:gd name="connsiteY19" fmla="*/ 32756 h 65548"/>
                  <a:gd name="connsiteX20" fmla="*/ 51387 w 67361"/>
                  <a:gd name="connsiteY20" fmla="*/ 25065 h 65548"/>
                  <a:gd name="connsiteX21" fmla="*/ 47405 w 67361"/>
                  <a:gd name="connsiteY21" fmla="*/ 18725 h 65548"/>
                  <a:gd name="connsiteX22" fmla="*/ 41289 w 67361"/>
                  <a:gd name="connsiteY22" fmla="*/ 14423 h 65548"/>
                  <a:gd name="connsiteX23" fmla="*/ 33598 w 67361"/>
                  <a:gd name="connsiteY23" fmla="*/ 12835 h 65548"/>
                  <a:gd name="connsiteX24" fmla="*/ 25859 w 67361"/>
                  <a:gd name="connsiteY24" fmla="*/ 14375 h 65548"/>
                  <a:gd name="connsiteX25" fmla="*/ 19886 w 67361"/>
                  <a:gd name="connsiteY25" fmla="*/ 18630 h 65548"/>
                  <a:gd name="connsiteX26" fmla="*/ 15987 w 67361"/>
                  <a:gd name="connsiteY26" fmla="*/ 24923 h 65548"/>
                  <a:gd name="connsiteX27" fmla="*/ 14589 w 67361"/>
                  <a:gd name="connsiteY27" fmla="*/ 32579 h 65548"/>
                  <a:gd name="connsiteX28" fmla="*/ 14589 w 67361"/>
                  <a:gd name="connsiteY28" fmla="*/ 32756 h 65548"/>
                  <a:gd name="connsiteX29" fmla="*/ 15987 w 67361"/>
                  <a:gd name="connsiteY29" fmla="*/ 40448 h 65548"/>
                  <a:gd name="connsiteX30" fmla="*/ 19969 w 67361"/>
                  <a:gd name="connsiteY30" fmla="*/ 46788 h 65548"/>
                  <a:gd name="connsiteX31" fmla="*/ 26037 w 67361"/>
                  <a:gd name="connsiteY31" fmla="*/ 51090 h 65548"/>
                  <a:gd name="connsiteX32" fmla="*/ 33776 w 67361"/>
                  <a:gd name="connsiteY32" fmla="*/ 52678 h 65548"/>
                  <a:gd name="connsiteX33" fmla="*/ 41467 w 67361"/>
                  <a:gd name="connsiteY33" fmla="*/ 51138 h 65548"/>
                  <a:gd name="connsiteX34" fmla="*/ 47487 w 67361"/>
                  <a:gd name="connsiteY34" fmla="*/ 46883 h 65548"/>
                  <a:gd name="connsiteX35" fmla="*/ 51387 w 67361"/>
                  <a:gd name="connsiteY35" fmla="*/ 40590 h 65548"/>
                  <a:gd name="connsiteX36" fmla="*/ 52785 w 67361"/>
                  <a:gd name="connsiteY36" fmla="*/ 32934 h 65548"/>
                  <a:gd name="connsiteX37" fmla="*/ 52785 w 67361"/>
                  <a:gd name="connsiteY37" fmla="*/ 32756 h 65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7361" h="65548">
                    <a:moveTo>
                      <a:pt x="64826" y="45485"/>
                    </a:moveTo>
                    <a:cubicBezTo>
                      <a:pt x="63131" y="49443"/>
                      <a:pt x="60796" y="52903"/>
                      <a:pt x="57810" y="55902"/>
                    </a:cubicBezTo>
                    <a:cubicBezTo>
                      <a:pt x="54823" y="58900"/>
                      <a:pt x="51256" y="61247"/>
                      <a:pt x="47120" y="62965"/>
                    </a:cubicBezTo>
                    <a:cubicBezTo>
                      <a:pt x="42984" y="64683"/>
                      <a:pt x="38469" y="65548"/>
                      <a:pt x="33586" y="65548"/>
                    </a:cubicBezTo>
                    <a:cubicBezTo>
                      <a:pt x="28703" y="65548"/>
                      <a:pt x="24200" y="64683"/>
                      <a:pt x="20100" y="62965"/>
                    </a:cubicBezTo>
                    <a:cubicBezTo>
                      <a:pt x="15999" y="61247"/>
                      <a:pt x="12444" y="58924"/>
                      <a:pt x="9457" y="55996"/>
                    </a:cubicBezTo>
                    <a:cubicBezTo>
                      <a:pt x="6471" y="53069"/>
                      <a:pt x="4148" y="49632"/>
                      <a:pt x="2489" y="45674"/>
                    </a:cubicBezTo>
                    <a:cubicBezTo>
                      <a:pt x="830" y="41716"/>
                      <a:pt x="0" y="37485"/>
                      <a:pt x="0" y="32958"/>
                    </a:cubicBezTo>
                    <a:lnTo>
                      <a:pt x="0" y="32780"/>
                    </a:lnTo>
                    <a:cubicBezTo>
                      <a:pt x="0" y="28253"/>
                      <a:pt x="841" y="24010"/>
                      <a:pt x="2536" y="20064"/>
                    </a:cubicBezTo>
                    <a:cubicBezTo>
                      <a:pt x="4231" y="16118"/>
                      <a:pt x="6566" y="12645"/>
                      <a:pt x="9552" y="9647"/>
                    </a:cubicBezTo>
                    <a:cubicBezTo>
                      <a:pt x="12539" y="6660"/>
                      <a:pt x="16106" y="4302"/>
                      <a:pt x="20242" y="2584"/>
                    </a:cubicBezTo>
                    <a:cubicBezTo>
                      <a:pt x="24378" y="865"/>
                      <a:pt x="28893" y="0"/>
                      <a:pt x="33776" y="0"/>
                    </a:cubicBezTo>
                    <a:cubicBezTo>
                      <a:pt x="38658" y="0"/>
                      <a:pt x="43162" y="865"/>
                      <a:pt x="47262" y="2584"/>
                    </a:cubicBezTo>
                    <a:cubicBezTo>
                      <a:pt x="51363" y="4302"/>
                      <a:pt x="54918" y="6625"/>
                      <a:pt x="57905" y="9552"/>
                    </a:cubicBezTo>
                    <a:cubicBezTo>
                      <a:pt x="60891" y="12479"/>
                      <a:pt x="63214" y="15916"/>
                      <a:pt x="64873" y="19874"/>
                    </a:cubicBezTo>
                    <a:cubicBezTo>
                      <a:pt x="66532" y="23833"/>
                      <a:pt x="67362" y="28063"/>
                      <a:pt x="67362" y="32591"/>
                    </a:cubicBezTo>
                    <a:lnTo>
                      <a:pt x="67362" y="32768"/>
                    </a:lnTo>
                    <a:cubicBezTo>
                      <a:pt x="67362" y="37295"/>
                      <a:pt x="66520" y="41538"/>
                      <a:pt x="64826" y="45496"/>
                    </a:cubicBezTo>
                    <a:close/>
                    <a:moveTo>
                      <a:pt x="52785" y="32756"/>
                    </a:moveTo>
                    <a:cubicBezTo>
                      <a:pt x="52785" y="30043"/>
                      <a:pt x="52323" y="27471"/>
                      <a:pt x="51387" y="25065"/>
                    </a:cubicBezTo>
                    <a:cubicBezTo>
                      <a:pt x="50450" y="22647"/>
                      <a:pt x="49123" y="20538"/>
                      <a:pt x="47405" y="18725"/>
                    </a:cubicBezTo>
                    <a:cubicBezTo>
                      <a:pt x="45686" y="16912"/>
                      <a:pt x="43648" y="15478"/>
                      <a:pt x="41289" y="14423"/>
                    </a:cubicBezTo>
                    <a:cubicBezTo>
                      <a:pt x="38931" y="13368"/>
                      <a:pt x="36371" y="12835"/>
                      <a:pt x="33598" y="12835"/>
                    </a:cubicBezTo>
                    <a:cubicBezTo>
                      <a:pt x="30825" y="12835"/>
                      <a:pt x="28182" y="13344"/>
                      <a:pt x="25859" y="14375"/>
                    </a:cubicBezTo>
                    <a:cubicBezTo>
                      <a:pt x="23536" y="15406"/>
                      <a:pt x="21545" y="16817"/>
                      <a:pt x="19886" y="18630"/>
                    </a:cubicBezTo>
                    <a:cubicBezTo>
                      <a:pt x="18227" y="20443"/>
                      <a:pt x="16923" y="22541"/>
                      <a:pt x="15987" y="24923"/>
                    </a:cubicBezTo>
                    <a:cubicBezTo>
                      <a:pt x="15051" y="27305"/>
                      <a:pt x="14589" y="29853"/>
                      <a:pt x="14589" y="32579"/>
                    </a:cubicBezTo>
                    <a:lnTo>
                      <a:pt x="14589" y="32756"/>
                    </a:lnTo>
                    <a:cubicBezTo>
                      <a:pt x="14589" y="35470"/>
                      <a:pt x="15051" y="38042"/>
                      <a:pt x="15987" y="40448"/>
                    </a:cubicBezTo>
                    <a:cubicBezTo>
                      <a:pt x="16923" y="42865"/>
                      <a:pt x="18251" y="44975"/>
                      <a:pt x="19969" y="46788"/>
                    </a:cubicBezTo>
                    <a:cubicBezTo>
                      <a:pt x="21688" y="48601"/>
                      <a:pt x="23714" y="50035"/>
                      <a:pt x="26037" y="51090"/>
                    </a:cubicBezTo>
                    <a:cubicBezTo>
                      <a:pt x="28360" y="52145"/>
                      <a:pt x="30943" y="52678"/>
                      <a:pt x="33776" y="52678"/>
                    </a:cubicBezTo>
                    <a:cubicBezTo>
                      <a:pt x="36608" y="52678"/>
                      <a:pt x="39121" y="52169"/>
                      <a:pt x="41467" y="51138"/>
                    </a:cubicBezTo>
                    <a:cubicBezTo>
                      <a:pt x="43825" y="50106"/>
                      <a:pt x="45828" y="48696"/>
                      <a:pt x="47487" y="46883"/>
                    </a:cubicBezTo>
                    <a:cubicBezTo>
                      <a:pt x="49147" y="45070"/>
                      <a:pt x="50450" y="42972"/>
                      <a:pt x="51387" y="40590"/>
                    </a:cubicBezTo>
                    <a:cubicBezTo>
                      <a:pt x="52323" y="38208"/>
                      <a:pt x="52785" y="35660"/>
                      <a:pt x="52785" y="32934"/>
                    </a:cubicBezTo>
                    <a:lnTo>
                      <a:pt x="52785" y="32756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78E4683A-D662-4290-D908-79855495886A}"/>
                  </a:ext>
                </a:extLst>
              </p:cNvPr>
              <p:cNvSpPr/>
              <p:nvPr/>
            </p:nvSpPr>
            <p:spPr>
              <a:xfrm>
                <a:off x="1692871" y="6591709"/>
                <a:ext cx="63379" cy="63391"/>
              </a:xfrm>
              <a:custGeom>
                <a:avLst/>
                <a:gdLst>
                  <a:gd name="connsiteX0" fmla="*/ 49621 w 63379"/>
                  <a:gd name="connsiteY0" fmla="*/ 63392 h 63391"/>
                  <a:gd name="connsiteX1" fmla="*/ 49621 w 63379"/>
                  <a:gd name="connsiteY1" fmla="*/ 22008 h 63391"/>
                  <a:gd name="connsiteX2" fmla="*/ 31785 w 63379"/>
                  <a:gd name="connsiteY2" fmla="*/ 49075 h 63391"/>
                  <a:gd name="connsiteX3" fmla="*/ 31417 w 63379"/>
                  <a:gd name="connsiteY3" fmla="*/ 49075 h 63391"/>
                  <a:gd name="connsiteX4" fmla="*/ 13759 w 63379"/>
                  <a:gd name="connsiteY4" fmla="*/ 22268 h 63391"/>
                  <a:gd name="connsiteX5" fmla="*/ 13759 w 63379"/>
                  <a:gd name="connsiteY5" fmla="*/ 63380 h 63391"/>
                  <a:gd name="connsiteX6" fmla="*/ 0 w 63379"/>
                  <a:gd name="connsiteY6" fmla="*/ 63380 h 63391"/>
                  <a:gd name="connsiteX7" fmla="*/ 0 w 63379"/>
                  <a:gd name="connsiteY7" fmla="*/ 0 h 63391"/>
                  <a:gd name="connsiteX8" fmla="*/ 15027 w 63379"/>
                  <a:gd name="connsiteY8" fmla="*/ 0 h 63391"/>
                  <a:gd name="connsiteX9" fmla="*/ 31690 w 63379"/>
                  <a:gd name="connsiteY9" fmla="*/ 26807 h 63391"/>
                  <a:gd name="connsiteX10" fmla="*/ 48353 w 63379"/>
                  <a:gd name="connsiteY10" fmla="*/ 0 h 63391"/>
                  <a:gd name="connsiteX11" fmla="*/ 63380 w 63379"/>
                  <a:gd name="connsiteY11" fmla="*/ 0 h 63391"/>
                  <a:gd name="connsiteX12" fmla="*/ 63380 w 63379"/>
                  <a:gd name="connsiteY12" fmla="*/ 63380 h 63391"/>
                  <a:gd name="connsiteX13" fmla="*/ 49621 w 63379"/>
                  <a:gd name="connsiteY13" fmla="*/ 63380 h 63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3379" h="63391">
                    <a:moveTo>
                      <a:pt x="49621" y="63392"/>
                    </a:moveTo>
                    <a:lnTo>
                      <a:pt x="49621" y="22008"/>
                    </a:lnTo>
                    <a:lnTo>
                      <a:pt x="31785" y="49075"/>
                    </a:lnTo>
                    <a:lnTo>
                      <a:pt x="31417" y="49075"/>
                    </a:lnTo>
                    <a:lnTo>
                      <a:pt x="13759" y="22268"/>
                    </a:lnTo>
                    <a:lnTo>
                      <a:pt x="13759" y="63380"/>
                    </a:lnTo>
                    <a:lnTo>
                      <a:pt x="0" y="63380"/>
                    </a:lnTo>
                    <a:lnTo>
                      <a:pt x="0" y="0"/>
                    </a:lnTo>
                    <a:lnTo>
                      <a:pt x="15027" y="0"/>
                    </a:lnTo>
                    <a:lnTo>
                      <a:pt x="31690" y="26807"/>
                    </a:lnTo>
                    <a:lnTo>
                      <a:pt x="48353" y="0"/>
                    </a:lnTo>
                    <a:lnTo>
                      <a:pt x="63380" y="0"/>
                    </a:lnTo>
                    <a:lnTo>
                      <a:pt x="63380" y="63380"/>
                    </a:lnTo>
                    <a:lnTo>
                      <a:pt x="49621" y="63380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A1F9616A-3A89-2687-5759-2F8EE7D8381E}"/>
                  </a:ext>
                </a:extLst>
              </p:cNvPr>
              <p:cNvSpPr/>
              <p:nvPr/>
            </p:nvSpPr>
            <p:spPr>
              <a:xfrm>
                <a:off x="1768671" y="6590654"/>
                <a:ext cx="67361" cy="65548"/>
              </a:xfrm>
              <a:custGeom>
                <a:avLst/>
                <a:gdLst>
                  <a:gd name="connsiteX0" fmla="*/ 64826 w 67361"/>
                  <a:gd name="connsiteY0" fmla="*/ 45485 h 65548"/>
                  <a:gd name="connsiteX1" fmla="*/ 57810 w 67361"/>
                  <a:gd name="connsiteY1" fmla="*/ 55902 h 65548"/>
                  <a:gd name="connsiteX2" fmla="*/ 47120 w 67361"/>
                  <a:gd name="connsiteY2" fmla="*/ 62965 h 65548"/>
                  <a:gd name="connsiteX3" fmla="*/ 33586 w 67361"/>
                  <a:gd name="connsiteY3" fmla="*/ 65548 h 65548"/>
                  <a:gd name="connsiteX4" fmla="*/ 20100 w 67361"/>
                  <a:gd name="connsiteY4" fmla="*/ 62965 h 65548"/>
                  <a:gd name="connsiteX5" fmla="*/ 9457 w 67361"/>
                  <a:gd name="connsiteY5" fmla="*/ 55996 h 65548"/>
                  <a:gd name="connsiteX6" fmla="*/ 2489 w 67361"/>
                  <a:gd name="connsiteY6" fmla="*/ 45674 h 65548"/>
                  <a:gd name="connsiteX7" fmla="*/ 0 w 67361"/>
                  <a:gd name="connsiteY7" fmla="*/ 32958 h 65548"/>
                  <a:gd name="connsiteX8" fmla="*/ 0 w 67361"/>
                  <a:gd name="connsiteY8" fmla="*/ 32780 h 65548"/>
                  <a:gd name="connsiteX9" fmla="*/ 2536 w 67361"/>
                  <a:gd name="connsiteY9" fmla="*/ 20064 h 65548"/>
                  <a:gd name="connsiteX10" fmla="*/ 9552 w 67361"/>
                  <a:gd name="connsiteY10" fmla="*/ 9647 h 65548"/>
                  <a:gd name="connsiteX11" fmla="*/ 20242 w 67361"/>
                  <a:gd name="connsiteY11" fmla="*/ 2584 h 65548"/>
                  <a:gd name="connsiteX12" fmla="*/ 33776 w 67361"/>
                  <a:gd name="connsiteY12" fmla="*/ 0 h 65548"/>
                  <a:gd name="connsiteX13" fmla="*/ 47262 w 67361"/>
                  <a:gd name="connsiteY13" fmla="*/ 2584 h 65548"/>
                  <a:gd name="connsiteX14" fmla="*/ 57905 w 67361"/>
                  <a:gd name="connsiteY14" fmla="*/ 9552 h 65548"/>
                  <a:gd name="connsiteX15" fmla="*/ 64873 w 67361"/>
                  <a:gd name="connsiteY15" fmla="*/ 19874 h 65548"/>
                  <a:gd name="connsiteX16" fmla="*/ 67362 w 67361"/>
                  <a:gd name="connsiteY16" fmla="*/ 32591 h 65548"/>
                  <a:gd name="connsiteX17" fmla="*/ 67362 w 67361"/>
                  <a:gd name="connsiteY17" fmla="*/ 32768 h 65548"/>
                  <a:gd name="connsiteX18" fmla="*/ 64826 w 67361"/>
                  <a:gd name="connsiteY18" fmla="*/ 45496 h 65548"/>
                  <a:gd name="connsiteX19" fmla="*/ 52785 w 67361"/>
                  <a:gd name="connsiteY19" fmla="*/ 32756 h 65548"/>
                  <a:gd name="connsiteX20" fmla="*/ 51387 w 67361"/>
                  <a:gd name="connsiteY20" fmla="*/ 25065 h 65548"/>
                  <a:gd name="connsiteX21" fmla="*/ 47405 w 67361"/>
                  <a:gd name="connsiteY21" fmla="*/ 18725 h 65548"/>
                  <a:gd name="connsiteX22" fmla="*/ 41289 w 67361"/>
                  <a:gd name="connsiteY22" fmla="*/ 14423 h 65548"/>
                  <a:gd name="connsiteX23" fmla="*/ 33598 w 67361"/>
                  <a:gd name="connsiteY23" fmla="*/ 12835 h 65548"/>
                  <a:gd name="connsiteX24" fmla="*/ 25859 w 67361"/>
                  <a:gd name="connsiteY24" fmla="*/ 14375 h 65548"/>
                  <a:gd name="connsiteX25" fmla="*/ 19886 w 67361"/>
                  <a:gd name="connsiteY25" fmla="*/ 18630 h 65548"/>
                  <a:gd name="connsiteX26" fmla="*/ 15987 w 67361"/>
                  <a:gd name="connsiteY26" fmla="*/ 24923 h 65548"/>
                  <a:gd name="connsiteX27" fmla="*/ 14589 w 67361"/>
                  <a:gd name="connsiteY27" fmla="*/ 32579 h 65548"/>
                  <a:gd name="connsiteX28" fmla="*/ 14589 w 67361"/>
                  <a:gd name="connsiteY28" fmla="*/ 32756 h 65548"/>
                  <a:gd name="connsiteX29" fmla="*/ 15987 w 67361"/>
                  <a:gd name="connsiteY29" fmla="*/ 40448 h 65548"/>
                  <a:gd name="connsiteX30" fmla="*/ 19969 w 67361"/>
                  <a:gd name="connsiteY30" fmla="*/ 46788 h 65548"/>
                  <a:gd name="connsiteX31" fmla="*/ 26037 w 67361"/>
                  <a:gd name="connsiteY31" fmla="*/ 51090 h 65548"/>
                  <a:gd name="connsiteX32" fmla="*/ 33776 w 67361"/>
                  <a:gd name="connsiteY32" fmla="*/ 52678 h 65548"/>
                  <a:gd name="connsiteX33" fmla="*/ 41467 w 67361"/>
                  <a:gd name="connsiteY33" fmla="*/ 51138 h 65548"/>
                  <a:gd name="connsiteX34" fmla="*/ 47488 w 67361"/>
                  <a:gd name="connsiteY34" fmla="*/ 46883 h 65548"/>
                  <a:gd name="connsiteX35" fmla="*/ 51387 w 67361"/>
                  <a:gd name="connsiteY35" fmla="*/ 40590 h 65548"/>
                  <a:gd name="connsiteX36" fmla="*/ 52785 w 67361"/>
                  <a:gd name="connsiteY36" fmla="*/ 32934 h 65548"/>
                  <a:gd name="connsiteX37" fmla="*/ 52785 w 67361"/>
                  <a:gd name="connsiteY37" fmla="*/ 32756 h 65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7361" h="65548">
                    <a:moveTo>
                      <a:pt x="64826" y="45485"/>
                    </a:moveTo>
                    <a:cubicBezTo>
                      <a:pt x="63131" y="49443"/>
                      <a:pt x="60796" y="52903"/>
                      <a:pt x="57810" y="55902"/>
                    </a:cubicBezTo>
                    <a:cubicBezTo>
                      <a:pt x="54823" y="58900"/>
                      <a:pt x="51256" y="61247"/>
                      <a:pt x="47120" y="62965"/>
                    </a:cubicBezTo>
                    <a:cubicBezTo>
                      <a:pt x="42984" y="64683"/>
                      <a:pt x="38469" y="65548"/>
                      <a:pt x="33586" y="65548"/>
                    </a:cubicBezTo>
                    <a:cubicBezTo>
                      <a:pt x="28703" y="65548"/>
                      <a:pt x="24200" y="64683"/>
                      <a:pt x="20100" y="62965"/>
                    </a:cubicBezTo>
                    <a:cubicBezTo>
                      <a:pt x="15999" y="61247"/>
                      <a:pt x="12444" y="58924"/>
                      <a:pt x="9457" y="55996"/>
                    </a:cubicBezTo>
                    <a:cubicBezTo>
                      <a:pt x="6471" y="53069"/>
                      <a:pt x="4148" y="49632"/>
                      <a:pt x="2489" y="45674"/>
                    </a:cubicBezTo>
                    <a:cubicBezTo>
                      <a:pt x="830" y="41716"/>
                      <a:pt x="0" y="37485"/>
                      <a:pt x="0" y="32958"/>
                    </a:cubicBezTo>
                    <a:lnTo>
                      <a:pt x="0" y="32780"/>
                    </a:lnTo>
                    <a:cubicBezTo>
                      <a:pt x="0" y="28253"/>
                      <a:pt x="841" y="24010"/>
                      <a:pt x="2536" y="20064"/>
                    </a:cubicBezTo>
                    <a:cubicBezTo>
                      <a:pt x="4231" y="16118"/>
                      <a:pt x="6566" y="12645"/>
                      <a:pt x="9552" y="9647"/>
                    </a:cubicBezTo>
                    <a:cubicBezTo>
                      <a:pt x="12539" y="6660"/>
                      <a:pt x="16106" y="4302"/>
                      <a:pt x="20242" y="2584"/>
                    </a:cubicBezTo>
                    <a:cubicBezTo>
                      <a:pt x="24378" y="865"/>
                      <a:pt x="28893" y="0"/>
                      <a:pt x="33776" y="0"/>
                    </a:cubicBezTo>
                    <a:cubicBezTo>
                      <a:pt x="38658" y="0"/>
                      <a:pt x="43162" y="865"/>
                      <a:pt x="47262" y="2584"/>
                    </a:cubicBezTo>
                    <a:cubicBezTo>
                      <a:pt x="51363" y="4302"/>
                      <a:pt x="54918" y="6625"/>
                      <a:pt x="57905" y="9552"/>
                    </a:cubicBezTo>
                    <a:cubicBezTo>
                      <a:pt x="60891" y="12479"/>
                      <a:pt x="63214" y="15916"/>
                      <a:pt x="64873" y="19874"/>
                    </a:cubicBezTo>
                    <a:cubicBezTo>
                      <a:pt x="66532" y="23833"/>
                      <a:pt x="67362" y="28063"/>
                      <a:pt x="67362" y="32591"/>
                    </a:cubicBezTo>
                    <a:lnTo>
                      <a:pt x="67362" y="32768"/>
                    </a:lnTo>
                    <a:cubicBezTo>
                      <a:pt x="67362" y="37295"/>
                      <a:pt x="66520" y="41538"/>
                      <a:pt x="64826" y="45496"/>
                    </a:cubicBezTo>
                    <a:close/>
                    <a:moveTo>
                      <a:pt x="52785" y="32756"/>
                    </a:moveTo>
                    <a:cubicBezTo>
                      <a:pt x="52785" y="30043"/>
                      <a:pt x="52323" y="27471"/>
                      <a:pt x="51387" y="25065"/>
                    </a:cubicBezTo>
                    <a:cubicBezTo>
                      <a:pt x="50450" y="22647"/>
                      <a:pt x="49123" y="20538"/>
                      <a:pt x="47405" y="18725"/>
                    </a:cubicBezTo>
                    <a:cubicBezTo>
                      <a:pt x="45686" y="16912"/>
                      <a:pt x="43648" y="15478"/>
                      <a:pt x="41289" y="14423"/>
                    </a:cubicBezTo>
                    <a:cubicBezTo>
                      <a:pt x="38931" y="13368"/>
                      <a:pt x="36371" y="12835"/>
                      <a:pt x="33598" y="12835"/>
                    </a:cubicBezTo>
                    <a:cubicBezTo>
                      <a:pt x="30825" y="12835"/>
                      <a:pt x="28182" y="13344"/>
                      <a:pt x="25859" y="14375"/>
                    </a:cubicBezTo>
                    <a:cubicBezTo>
                      <a:pt x="23536" y="15406"/>
                      <a:pt x="21545" y="16817"/>
                      <a:pt x="19886" y="18630"/>
                    </a:cubicBezTo>
                    <a:cubicBezTo>
                      <a:pt x="18227" y="20443"/>
                      <a:pt x="16923" y="22541"/>
                      <a:pt x="15987" y="24923"/>
                    </a:cubicBezTo>
                    <a:cubicBezTo>
                      <a:pt x="15051" y="27305"/>
                      <a:pt x="14589" y="29853"/>
                      <a:pt x="14589" y="32579"/>
                    </a:cubicBezTo>
                    <a:lnTo>
                      <a:pt x="14589" y="32756"/>
                    </a:lnTo>
                    <a:cubicBezTo>
                      <a:pt x="14589" y="35470"/>
                      <a:pt x="15051" y="38042"/>
                      <a:pt x="15987" y="40448"/>
                    </a:cubicBezTo>
                    <a:cubicBezTo>
                      <a:pt x="16923" y="42865"/>
                      <a:pt x="18251" y="44975"/>
                      <a:pt x="19969" y="46788"/>
                    </a:cubicBezTo>
                    <a:cubicBezTo>
                      <a:pt x="21688" y="48601"/>
                      <a:pt x="23714" y="50035"/>
                      <a:pt x="26037" y="51090"/>
                    </a:cubicBezTo>
                    <a:cubicBezTo>
                      <a:pt x="28360" y="52145"/>
                      <a:pt x="30943" y="52678"/>
                      <a:pt x="33776" y="52678"/>
                    </a:cubicBezTo>
                    <a:cubicBezTo>
                      <a:pt x="36608" y="52678"/>
                      <a:pt x="39121" y="52169"/>
                      <a:pt x="41467" y="51138"/>
                    </a:cubicBezTo>
                    <a:cubicBezTo>
                      <a:pt x="43826" y="50106"/>
                      <a:pt x="45828" y="48696"/>
                      <a:pt x="47488" y="46883"/>
                    </a:cubicBezTo>
                    <a:cubicBezTo>
                      <a:pt x="49147" y="45070"/>
                      <a:pt x="50450" y="42972"/>
                      <a:pt x="51387" y="40590"/>
                    </a:cubicBezTo>
                    <a:cubicBezTo>
                      <a:pt x="52323" y="38208"/>
                      <a:pt x="52785" y="35660"/>
                      <a:pt x="52785" y="32934"/>
                    </a:cubicBezTo>
                    <a:lnTo>
                      <a:pt x="52785" y="32756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AFF6907E-2FEF-A4FC-C034-325104EEFC44}"/>
                  </a:ext>
                </a:extLst>
              </p:cNvPr>
              <p:cNvSpPr/>
              <p:nvPr/>
            </p:nvSpPr>
            <p:spPr>
              <a:xfrm>
                <a:off x="1976552" y="6590654"/>
                <a:ext cx="67361" cy="65548"/>
              </a:xfrm>
              <a:custGeom>
                <a:avLst/>
                <a:gdLst>
                  <a:gd name="connsiteX0" fmla="*/ 64826 w 67361"/>
                  <a:gd name="connsiteY0" fmla="*/ 45485 h 65548"/>
                  <a:gd name="connsiteX1" fmla="*/ 57810 w 67361"/>
                  <a:gd name="connsiteY1" fmla="*/ 55902 h 65548"/>
                  <a:gd name="connsiteX2" fmla="*/ 47120 w 67361"/>
                  <a:gd name="connsiteY2" fmla="*/ 62965 h 65548"/>
                  <a:gd name="connsiteX3" fmla="*/ 33586 w 67361"/>
                  <a:gd name="connsiteY3" fmla="*/ 65548 h 65548"/>
                  <a:gd name="connsiteX4" fmla="*/ 20099 w 67361"/>
                  <a:gd name="connsiteY4" fmla="*/ 62965 h 65548"/>
                  <a:gd name="connsiteX5" fmla="*/ 9457 w 67361"/>
                  <a:gd name="connsiteY5" fmla="*/ 55996 h 65548"/>
                  <a:gd name="connsiteX6" fmla="*/ 2489 w 67361"/>
                  <a:gd name="connsiteY6" fmla="*/ 45674 h 65548"/>
                  <a:gd name="connsiteX7" fmla="*/ 0 w 67361"/>
                  <a:gd name="connsiteY7" fmla="*/ 32958 h 65548"/>
                  <a:gd name="connsiteX8" fmla="*/ 0 w 67361"/>
                  <a:gd name="connsiteY8" fmla="*/ 32780 h 65548"/>
                  <a:gd name="connsiteX9" fmla="*/ 2536 w 67361"/>
                  <a:gd name="connsiteY9" fmla="*/ 20064 h 65548"/>
                  <a:gd name="connsiteX10" fmla="*/ 9552 w 67361"/>
                  <a:gd name="connsiteY10" fmla="*/ 9647 h 65548"/>
                  <a:gd name="connsiteX11" fmla="*/ 20242 w 67361"/>
                  <a:gd name="connsiteY11" fmla="*/ 2584 h 65548"/>
                  <a:gd name="connsiteX12" fmla="*/ 33776 w 67361"/>
                  <a:gd name="connsiteY12" fmla="*/ 0 h 65548"/>
                  <a:gd name="connsiteX13" fmla="*/ 47262 w 67361"/>
                  <a:gd name="connsiteY13" fmla="*/ 2584 h 65548"/>
                  <a:gd name="connsiteX14" fmla="*/ 57905 w 67361"/>
                  <a:gd name="connsiteY14" fmla="*/ 9552 h 65548"/>
                  <a:gd name="connsiteX15" fmla="*/ 64873 w 67361"/>
                  <a:gd name="connsiteY15" fmla="*/ 19874 h 65548"/>
                  <a:gd name="connsiteX16" fmla="*/ 67362 w 67361"/>
                  <a:gd name="connsiteY16" fmla="*/ 32591 h 65548"/>
                  <a:gd name="connsiteX17" fmla="*/ 67362 w 67361"/>
                  <a:gd name="connsiteY17" fmla="*/ 32768 h 65548"/>
                  <a:gd name="connsiteX18" fmla="*/ 64826 w 67361"/>
                  <a:gd name="connsiteY18" fmla="*/ 45496 h 65548"/>
                  <a:gd name="connsiteX19" fmla="*/ 52785 w 67361"/>
                  <a:gd name="connsiteY19" fmla="*/ 32756 h 65548"/>
                  <a:gd name="connsiteX20" fmla="*/ 51387 w 67361"/>
                  <a:gd name="connsiteY20" fmla="*/ 25065 h 65548"/>
                  <a:gd name="connsiteX21" fmla="*/ 47405 w 67361"/>
                  <a:gd name="connsiteY21" fmla="*/ 18725 h 65548"/>
                  <a:gd name="connsiteX22" fmla="*/ 41289 w 67361"/>
                  <a:gd name="connsiteY22" fmla="*/ 14423 h 65548"/>
                  <a:gd name="connsiteX23" fmla="*/ 33598 w 67361"/>
                  <a:gd name="connsiteY23" fmla="*/ 12835 h 65548"/>
                  <a:gd name="connsiteX24" fmla="*/ 25859 w 67361"/>
                  <a:gd name="connsiteY24" fmla="*/ 14375 h 65548"/>
                  <a:gd name="connsiteX25" fmla="*/ 19886 w 67361"/>
                  <a:gd name="connsiteY25" fmla="*/ 18630 h 65548"/>
                  <a:gd name="connsiteX26" fmla="*/ 15987 w 67361"/>
                  <a:gd name="connsiteY26" fmla="*/ 24923 h 65548"/>
                  <a:gd name="connsiteX27" fmla="*/ 14589 w 67361"/>
                  <a:gd name="connsiteY27" fmla="*/ 32579 h 65548"/>
                  <a:gd name="connsiteX28" fmla="*/ 14589 w 67361"/>
                  <a:gd name="connsiteY28" fmla="*/ 32756 h 65548"/>
                  <a:gd name="connsiteX29" fmla="*/ 15987 w 67361"/>
                  <a:gd name="connsiteY29" fmla="*/ 40448 h 65548"/>
                  <a:gd name="connsiteX30" fmla="*/ 19969 w 67361"/>
                  <a:gd name="connsiteY30" fmla="*/ 46788 h 65548"/>
                  <a:gd name="connsiteX31" fmla="*/ 26037 w 67361"/>
                  <a:gd name="connsiteY31" fmla="*/ 51090 h 65548"/>
                  <a:gd name="connsiteX32" fmla="*/ 33776 w 67361"/>
                  <a:gd name="connsiteY32" fmla="*/ 52678 h 65548"/>
                  <a:gd name="connsiteX33" fmla="*/ 41467 w 67361"/>
                  <a:gd name="connsiteY33" fmla="*/ 51138 h 65548"/>
                  <a:gd name="connsiteX34" fmla="*/ 47487 w 67361"/>
                  <a:gd name="connsiteY34" fmla="*/ 46883 h 65548"/>
                  <a:gd name="connsiteX35" fmla="*/ 51387 w 67361"/>
                  <a:gd name="connsiteY35" fmla="*/ 40590 h 65548"/>
                  <a:gd name="connsiteX36" fmla="*/ 52785 w 67361"/>
                  <a:gd name="connsiteY36" fmla="*/ 32934 h 65548"/>
                  <a:gd name="connsiteX37" fmla="*/ 52785 w 67361"/>
                  <a:gd name="connsiteY37" fmla="*/ 32756 h 65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7361" h="65548">
                    <a:moveTo>
                      <a:pt x="64826" y="45485"/>
                    </a:moveTo>
                    <a:cubicBezTo>
                      <a:pt x="63131" y="49443"/>
                      <a:pt x="60796" y="52903"/>
                      <a:pt x="57810" y="55902"/>
                    </a:cubicBezTo>
                    <a:cubicBezTo>
                      <a:pt x="54823" y="58900"/>
                      <a:pt x="51256" y="61247"/>
                      <a:pt x="47120" y="62965"/>
                    </a:cubicBezTo>
                    <a:cubicBezTo>
                      <a:pt x="42984" y="64683"/>
                      <a:pt x="38469" y="65548"/>
                      <a:pt x="33586" y="65548"/>
                    </a:cubicBezTo>
                    <a:cubicBezTo>
                      <a:pt x="28703" y="65548"/>
                      <a:pt x="24200" y="64683"/>
                      <a:pt x="20099" y="62965"/>
                    </a:cubicBezTo>
                    <a:cubicBezTo>
                      <a:pt x="15999" y="61247"/>
                      <a:pt x="12444" y="58924"/>
                      <a:pt x="9457" y="55996"/>
                    </a:cubicBezTo>
                    <a:cubicBezTo>
                      <a:pt x="6471" y="53069"/>
                      <a:pt x="4148" y="49632"/>
                      <a:pt x="2489" y="45674"/>
                    </a:cubicBezTo>
                    <a:cubicBezTo>
                      <a:pt x="830" y="41716"/>
                      <a:pt x="0" y="37485"/>
                      <a:pt x="0" y="32958"/>
                    </a:cubicBezTo>
                    <a:lnTo>
                      <a:pt x="0" y="32780"/>
                    </a:lnTo>
                    <a:cubicBezTo>
                      <a:pt x="0" y="28253"/>
                      <a:pt x="841" y="24010"/>
                      <a:pt x="2536" y="20064"/>
                    </a:cubicBezTo>
                    <a:cubicBezTo>
                      <a:pt x="4231" y="16118"/>
                      <a:pt x="6566" y="12645"/>
                      <a:pt x="9552" y="9647"/>
                    </a:cubicBezTo>
                    <a:cubicBezTo>
                      <a:pt x="12538" y="6660"/>
                      <a:pt x="16106" y="4302"/>
                      <a:pt x="20242" y="2584"/>
                    </a:cubicBezTo>
                    <a:cubicBezTo>
                      <a:pt x="24378" y="865"/>
                      <a:pt x="28893" y="0"/>
                      <a:pt x="33776" y="0"/>
                    </a:cubicBezTo>
                    <a:cubicBezTo>
                      <a:pt x="38658" y="0"/>
                      <a:pt x="43162" y="865"/>
                      <a:pt x="47262" y="2584"/>
                    </a:cubicBezTo>
                    <a:cubicBezTo>
                      <a:pt x="51363" y="4302"/>
                      <a:pt x="54918" y="6625"/>
                      <a:pt x="57905" y="9552"/>
                    </a:cubicBezTo>
                    <a:cubicBezTo>
                      <a:pt x="60891" y="12479"/>
                      <a:pt x="63214" y="15916"/>
                      <a:pt x="64873" y="19874"/>
                    </a:cubicBezTo>
                    <a:cubicBezTo>
                      <a:pt x="66532" y="23833"/>
                      <a:pt x="67362" y="28063"/>
                      <a:pt x="67362" y="32591"/>
                    </a:cubicBezTo>
                    <a:lnTo>
                      <a:pt x="67362" y="32768"/>
                    </a:lnTo>
                    <a:cubicBezTo>
                      <a:pt x="67362" y="37295"/>
                      <a:pt x="66520" y="41538"/>
                      <a:pt x="64826" y="45496"/>
                    </a:cubicBezTo>
                    <a:close/>
                    <a:moveTo>
                      <a:pt x="52785" y="32756"/>
                    </a:moveTo>
                    <a:cubicBezTo>
                      <a:pt x="52785" y="30043"/>
                      <a:pt x="52323" y="27471"/>
                      <a:pt x="51387" y="25065"/>
                    </a:cubicBezTo>
                    <a:cubicBezTo>
                      <a:pt x="50450" y="22647"/>
                      <a:pt x="49123" y="20538"/>
                      <a:pt x="47405" y="18725"/>
                    </a:cubicBezTo>
                    <a:cubicBezTo>
                      <a:pt x="45686" y="16912"/>
                      <a:pt x="43648" y="15478"/>
                      <a:pt x="41289" y="14423"/>
                    </a:cubicBezTo>
                    <a:cubicBezTo>
                      <a:pt x="38931" y="13368"/>
                      <a:pt x="36371" y="12835"/>
                      <a:pt x="33598" y="12835"/>
                    </a:cubicBezTo>
                    <a:cubicBezTo>
                      <a:pt x="30825" y="12835"/>
                      <a:pt x="28182" y="13344"/>
                      <a:pt x="25859" y="14375"/>
                    </a:cubicBezTo>
                    <a:cubicBezTo>
                      <a:pt x="23536" y="15406"/>
                      <a:pt x="21545" y="16817"/>
                      <a:pt x="19886" y="18630"/>
                    </a:cubicBezTo>
                    <a:cubicBezTo>
                      <a:pt x="18227" y="20443"/>
                      <a:pt x="16923" y="22541"/>
                      <a:pt x="15987" y="24923"/>
                    </a:cubicBezTo>
                    <a:cubicBezTo>
                      <a:pt x="15051" y="27305"/>
                      <a:pt x="14589" y="29853"/>
                      <a:pt x="14589" y="32579"/>
                    </a:cubicBezTo>
                    <a:lnTo>
                      <a:pt x="14589" y="32756"/>
                    </a:lnTo>
                    <a:cubicBezTo>
                      <a:pt x="14589" y="35470"/>
                      <a:pt x="15051" y="38042"/>
                      <a:pt x="15987" y="40448"/>
                    </a:cubicBezTo>
                    <a:cubicBezTo>
                      <a:pt x="16923" y="42865"/>
                      <a:pt x="18251" y="44975"/>
                      <a:pt x="19969" y="46788"/>
                    </a:cubicBezTo>
                    <a:cubicBezTo>
                      <a:pt x="21688" y="48601"/>
                      <a:pt x="23714" y="50035"/>
                      <a:pt x="26037" y="51090"/>
                    </a:cubicBezTo>
                    <a:cubicBezTo>
                      <a:pt x="28360" y="52145"/>
                      <a:pt x="30943" y="52678"/>
                      <a:pt x="33776" y="52678"/>
                    </a:cubicBezTo>
                    <a:cubicBezTo>
                      <a:pt x="36608" y="52678"/>
                      <a:pt x="39121" y="52169"/>
                      <a:pt x="41467" y="51138"/>
                    </a:cubicBezTo>
                    <a:cubicBezTo>
                      <a:pt x="43825" y="50106"/>
                      <a:pt x="45828" y="48696"/>
                      <a:pt x="47487" y="46883"/>
                    </a:cubicBezTo>
                    <a:cubicBezTo>
                      <a:pt x="49147" y="45070"/>
                      <a:pt x="50450" y="42972"/>
                      <a:pt x="51387" y="40590"/>
                    </a:cubicBezTo>
                    <a:cubicBezTo>
                      <a:pt x="52323" y="38208"/>
                      <a:pt x="52785" y="35660"/>
                      <a:pt x="52785" y="32934"/>
                    </a:cubicBezTo>
                    <a:lnTo>
                      <a:pt x="52785" y="32756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4EF11F01-56CB-C7D3-124F-BC5C3E95331F}"/>
                  </a:ext>
                </a:extLst>
              </p:cNvPr>
              <p:cNvSpPr/>
              <p:nvPr/>
            </p:nvSpPr>
            <p:spPr>
              <a:xfrm>
                <a:off x="2045181" y="6591543"/>
                <a:ext cx="96183" cy="64019"/>
              </a:xfrm>
              <a:custGeom>
                <a:avLst/>
                <a:gdLst>
                  <a:gd name="connsiteX0" fmla="*/ 74520 w 96183"/>
                  <a:gd name="connsiteY0" fmla="*/ 64020 h 64019"/>
                  <a:gd name="connsiteX1" fmla="*/ 62384 w 96183"/>
                  <a:gd name="connsiteY1" fmla="*/ 64020 h 64019"/>
                  <a:gd name="connsiteX2" fmla="*/ 48080 w 96183"/>
                  <a:gd name="connsiteY2" fmla="*/ 22553 h 64019"/>
                  <a:gd name="connsiteX3" fmla="*/ 33776 w 96183"/>
                  <a:gd name="connsiteY3" fmla="*/ 64020 h 64019"/>
                  <a:gd name="connsiteX4" fmla="*/ 21640 w 96183"/>
                  <a:gd name="connsiteY4" fmla="*/ 64020 h 64019"/>
                  <a:gd name="connsiteX5" fmla="*/ 0 w 96183"/>
                  <a:gd name="connsiteY5" fmla="*/ 190 h 64019"/>
                  <a:gd name="connsiteX6" fmla="*/ 14944 w 96183"/>
                  <a:gd name="connsiteY6" fmla="*/ 190 h 64019"/>
                  <a:gd name="connsiteX7" fmla="*/ 28075 w 96183"/>
                  <a:gd name="connsiteY7" fmla="*/ 43102 h 64019"/>
                  <a:gd name="connsiteX8" fmla="*/ 42297 w 96183"/>
                  <a:gd name="connsiteY8" fmla="*/ 0 h 64019"/>
                  <a:gd name="connsiteX9" fmla="*/ 54254 w 96183"/>
                  <a:gd name="connsiteY9" fmla="*/ 0 h 64019"/>
                  <a:gd name="connsiteX10" fmla="*/ 68476 w 96183"/>
                  <a:gd name="connsiteY10" fmla="*/ 43102 h 64019"/>
                  <a:gd name="connsiteX11" fmla="*/ 81607 w 96183"/>
                  <a:gd name="connsiteY11" fmla="*/ 190 h 64019"/>
                  <a:gd name="connsiteX12" fmla="*/ 96184 w 96183"/>
                  <a:gd name="connsiteY12" fmla="*/ 190 h 64019"/>
                  <a:gd name="connsiteX13" fmla="*/ 74544 w 96183"/>
                  <a:gd name="connsiteY13" fmla="*/ 64020 h 64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6183" h="64019">
                    <a:moveTo>
                      <a:pt x="74520" y="64020"/>
                    </a:moveTo>
                    <a:lnTo>
                      <a:pt x="62384" y="64020"/>
                    </a:lnTo>
                    <a:lnTo>
                      <a:pt x="48080" y="22553"/>
                    </a:lnTo>
                    <a:lnTo>
                      <a:pt x="33776" y="64020"/>
                    </a:lnTo>
                    <a:lnTo>
                      <a:pt x="21640" y="64020"/>
                    </a:lnTo>
                    <a:lnTo>
                      <a:pt x="0" y="190"/>
                    </a:lnTo>
                    <a:lnTo>
                      <a:pt x="14944" y="190"/>
                    </a:lnTo>
                    <a:lnTo>
                      <a:pt x="28075" y="43102"/>
                    </a:lnTo>
                    <a:lnTo>
                      <a:pt x="42297" y="0"/>
                    </a:lnTo>
                    <a:lnTo>
                      <a:pt x="54254" y="0"/>
                    </a:lnTo>
                    <a:lnTo>
                      <a:pt x="68476" y="43102"/>
                    </a:lnTo>
                    <a:lnTo>
                      <a:pt x="81607" y="190"/>
                    </a:lnTo>
                    <a:lnTo>
                      <a:pt x="96184" y="190"/>
                    </a:lnTo>
                    <a:lnTo>
                      <a:pt x="74544" y="64020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AF9E907-C88B-0AEB-FD27-ABA04C2A684B}"/>
                  </a:ext>
                </a:extLst>
              </p:cNvPr>
              <p:cNvSpPr/>
              <p:nvPr/>
            </p:nvSpPr>
            <p:spPr>
              <a:xfrm>
                <a:off x="1847244" y="6591863"/>
                <a:ext cx="54787" cy="63379"/>
              </a:xfrm>
              <a:custGeom>
                <a:avLst/>
                <a:gdLst>
                  <a:gd name="connsiteX0" fmla="*/ 36004 w 54787"/>
                  <a:gd name="connsiteY0" fmla="*/ 40744 h 63379"/>
                  <a:gd name="connsiteX1" fmla="*/ 49123 w 54787"/>
                  <a:gd name="connsiteY1" fmla="*/ 33633 h 63379"/>
                  <a:gd name="connsiteX2" fmla="*/ 52880 w 54787"/>
                  <a:gd name="connsiteY2" fmla="*/ 21095 h 63379"/>
                  <a:gd name="connsiteX3" fmla="*/ 52880 w 54787"/>
                  <a:gd name="connsiteY3" fmla="*/ 20917 h 63379"/>
                  <a:gd name="connsiteX4" fmla="*/ 46587 w 54787"/>
                  <a:gd name="connsiteY4" fmla="*/ 5523 h 63379"/>
                  <a:gd name="connsiteX5" fmla="*/ 28976 w 54787"/>
                  <a:gd name="connsiteY5" fmla="*/ 0 h 63379"/>
                  <a:gd name="connsiteX6" fmla="*/ 0 w 54787"/>
                  <a:gd name="connsiteY6" fmla="*/ 0 h 63379"/>
                  <a:gd name="connsiteX7" fmla="*/ 0 w 54787"/>
                  <a:gd name="connsiteY7" fmla="*/ 63380 h 63379"/>
                  <a:gd name="connsiteX8" fmla="*/ 13949 w 54787"/>
                  <a:gd name="connsiteY8" fmla="*/ 63380 h 63379"/>
                  <a:gd name="connsiteX9" fmla="*/ 13949 w 54787"/>
                  <a:gd name="connsiteY9" fmla="*/ 12586 h 63379"/>
                  <a:gd name="connsiteX10" fmla="*/ 27803 w 54787"/>
                  <a:gd name="connsiteY10" fmla="*/ 12586 h 63379"/>
                  <a:gd name="connsiteX11" fmla="*/ 35862 w 54787"/>
                  <a:gd name="connsiteY11" fmla="*/ 14849 h 63379"/>
                  <a:gd name="connsiteX12" fmla="*/ 38765 w 54787"/>
                  <a:gd name="connsiteY12" fmla="*/ 21640 h 63379"/>
                  <a:gd name="connsiteX13" fmla="*/ 38765 w 54787"/>
                  <a:gd name="connsiteY13" fmla="*/ 21818 h 63379"/>
                  <a:gd name="connsiteX14" fmla="*/ 36004 w 54787"/>
                  <a:gd name="connsiteY14" fmla="*/ 28336 h 63379"/>
                  <a:gd name="connsiteX15" fmla="*/ 28075 w 54787"/>
                  <a:gd name="connsiteY15" fmla="*/ 30777 h 63379"/>
                  <a:gd name="connsiteX16" fmla="*/ 20941 w 54787"/>
                  <a:gd name="connsiteY16" fmla="*/ 30777 h 63379"/>
                  <a:gd name="connsiteX17" fmla="*/ 20941 w 54787"/>
                  <a:gd name="connsiteY17" fmla="*/ 43091 h 63379"/>
                  <a:gd name="connsiteX18" fmla="*/ 36122 w 54787"/>
                  <a:gd name="connsiteY18" fmla="*/ 63368 h 63379"/>
                  <a:gd name="connsiteX19" fmla="*/ 54788 w 54787"/>
                  <a:gd name="connsiteY19" fmla="*/ 63368 h 63379"/>
                  <a:gd name="connsiteX20" fmla="*/ 36004 w 54787"/>
                  <a:gd name="connsiteY20" fmla="*/ 40732 h 63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4787" h="63379">
                    <a:moveTo>
                      <a:pt x="36004" y="40744"/>
                    </a:moveTo>
                    <a:cubicBezTo>
                      <a:pt x="43956" y="39038"/>
                      <a:pt x="46622" y="36869"/>
                      <a:pt x="49123" y="33633"/>
                    </a:cubicBezTo>
                    <a:cubicBezTo>
                      <a:pt x="51624" y="30398"/>
                      <a:pt x="52880" y="26227"/>
                      <a:pt x="52880" y="21095"/>
                    </a:cubicBezTo>
                    <a:lnTo>
                      <a:pt x="52880" y="20917"/>
                    </a:lnTo>
                    <a:cubicBezTo>
                      <a:pt x="52880" y="14340"/>
                      <a:pt x="50782" y="9208"/>
                      <a:pt x="46587" y="5523"/>
                    </a:cubicBezTo>
                    <a:cubicBezTo>
                      <a:pt x="42391" y="1837"/>
                      <a:pt x="36525" y="0"/>
                      <a:pt x="28976" y="0"/>
                    </a:cubicBezTo>
                    <a:lnTo>
                      <a:pt x="0" y="0"/>
                    </a:lnTo>
                    <a:lnTo>
                      <a:pt x="0" y="63380"/>
                    </a:lnTo>
                    <a:lnTo>
                      <a:pt x="13949" y="63380"/>
                    </a:lnTo>
                    <a:lnTo>
                      <a:pt x="13949" y="12586"/>
                    </a:lnTo>
                    <a:lnTo>
                      <a:pt x="27803" y="12586"/>
                    </a:lnTo>
                    <a:cubicBezTo>
                      <a:pt x="31240" y="12586"/>
                      <a:pt x="33930" y="13344"/>
                      <a:pt x="35862" y="14849"/>
                    </a:cubicBezTo>
                    <a:cubicBezTo>
                      <a:pt x="37793" y="16355"/>
                      <a:pt x="38765" y="18618"/>
                      <a:pt x="38765" y="21640"/>
                    </a:cubicBezTo>
                    <a:lnTo>
                      <a:pt x="38765" y="21818"/>
                    </a:lnTo>
                    <a:cubicBezTo>
                      <a:pt x="38765" y="24532"/>
                      <a:pt x="37841" y="26701"/>
                      <a:pt x="36004" y="28336"/>
                    </a:cubicBezTo>
                    <a:cubicBezTo>
                      <a:pt x="34167" y="29971"/>
                      <a:pt x="31524" y="30777"/>
                      <a:pt x="28075" y="30777"/>
                    </a:cubicBezTo>
                    <a:lnTo>
                      <a:pt x="20941" y="30777"/>
                    </a:lnTo>
                    <a:lnTo>
                      <a:pt x="20941" y="43091"/>
                    </a:lnTo>
                    <a:lnTo>
                      <a:pt x="36122" y="63368"/>
                    </a:lnTo>
                    <a:lnTo>
                      <a:pt x="54788" y="63368"/>
                    </a:lnTo>
                    <a:lnTo>
                      <a:pt x="36004" y="40732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8AB0850E-57B9-7543-0828-D0D2ACAD70F8}"/>
                  </a:ext>
                </a:extLst>
              </p:cNvPr>
              <p:cNvSpPr/>
              <p:nvPr/>
            </p:nvSpPr>
            <p:spPr>
              <a:xfrm>
                <a:off x="1913895" y="6591863"/>
                <a:ext cx="54787" cy="63379"/>
              </a:xfrm>
              <a:custGeom>
                <a:avLst/>
                <a:gdLst>
                  <a:gd name="connsiteX0" fmla="*/ 36004 w 54787"/>
                  <a:gd name="connsiteY0" fmla="*/ 40744 h 63379"/>
                  <a:gd name="connsiteX1" fmla="*/ 49123 w 54787"/>
                  <a:gd name="connsiteY1" fmla="*/ 33633 h 63379"/>
                  <a:gd name="connsiteX2" fmla="*/ 52880 w 54787"/>
                  <a:gd name="connsiteY2" fmla="*/ 21095 h 63379"/>
                  <a:gd name="connsiteX3" fmla="*/ 52880 w 54787"/>
                  <a:gd name="connsiteY3" fmla="*/ 20917 h 63379"/>
                  <a:gd name="connsiteX4" fmla="*/ 46587 w 54787"/>
                  <a:gd name="connsiteY4" fmla="*/ 5523 h 63379"/>
                  <a:gd name="connsiteX5" fmla="*/ 28976 w 54787"/>
                  <a:gd name="connsiteY5" fmla="*/ 0 h 63379"/>
                  <a:gd name="connsiteX6" fmla="*/ 0 w 54787"/>
                  <a:gd name="connsiteY6" fmla="*/ 0 h 63379"/>
                  <a:gd name="connsiteX7" fmla="*/ 0 w 54787"/>
                  <a:gd name="connsiteY7" fmla="*/ 63380 h 63379"/>
                  <a:gd name="connsiteX8" fmla="*/ 13949 w 54787"/>
                  <a:gd name="connsiteY8" fmla="*/ 63380 h 63379"/>
                  <a:gd name="connsiteX9" fmla="*/ 13949 w 54787"/>
                  <a:gd name="connsiteY9" fmla="*/ 12586 h 63379"/>
                  <a:gd name="connsiteX10" fmla="*/ 27803 w 54787"/>
                  <a:gd name="connsiteY10" fmla="*/ 12586 h 63379"/>
                  <a:gd name="connsiteX11" fmla="*/ 35862 w 54787"/>
                  <a:gd name="connsiteY11" fmla="*/ 14849 h 63379"/>
                  <a:gd name="connsiteX12" fmla="*/ 38765 w 54787"/>
                  <a:gd name="connsiteY12" fmla="*/ 21640 h 63379"/>
                  <a:gd name="connsiteX13" fmla="*/ 38765 w 54787"/>
                  <a:gd name="connsiteY13" fmla="*/ 21818 h 63379"/>
                  <a:gd name="connsiteX14" fmla="*/ 36004 w 54787"/>
                  <a:gd name="connsiteY14" fmla="*/ 28336 h 63379"/>
                  <a:gd name="connsiteX15" fmla="*/ 28075 w 54787"/>
                  <a:gd name="connsiteY15" fmla="*/ 30777 h 63379"/>
                  <a:gd name="connsiteX16" fmla="*/ 20941 w 54787"/>
                  <a:gd name="connsiteY16" fmla="*/ 30777 h 63379"/>
                  <a:gd name="connsiteX17" fmla="*/ 20941 w 54787"/>
                  <a:gd name="connsiteY17" fmla="*/ 43091 h 63379"/>
                  <a:gd name="connsiteX18" fmla="*/ 36122 w 54787"/>
                  <a:gd name="connsiteY18" fmla="*/ 63368 h 63379"/>
                  <a:gd name="connsiteX19" fmla="*/ 54788 w 54787"/>
                  <a:gd name="connsiteY19" fmla="*/ 63368 h 63379"/>
                  <a:gd name="connsiteX20" fmla="*/ 36004 w 54787"/>
                  <a:gd name="connsiteY20" fmla="*/ 40732 h 63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4787" h="63379">
                    <a:moveTo>
                      <a:pt x="36004" y="40744"/>
                    </a:moveTo>
                    <a:cubicBezTo>
                      <a:pt x="43956" y="39038"/>
                      <a:pt x="46622" y="36869"/>
                      <a:pt x="49123" y="33633"/>
                    </a:cubicBezTo>
                    <a:cubicBezTo>
                      <a:pt x="51624" y="30398"/>
                      <a:pt x="52880" y="26227"/>
                      <a:pt x="52880" y="21095"/>
                    </a:cubicBezTo>
                    <a:lnTo>
                      <a:pt x="52880" y="20917"/>
                    </a:lnTo>
                    <a:cubicBezTo>
                      <a:pt x="52880" y="14340"/>
                      <a:pt x="50782" y="9208"/>
                      <a:pt x="46587" y="5523"/>
                    </a:cubicBezTo>
                    <a:cubicBezTo>
                      <a:pt x="42391" y="1837"/>
                      <a:pt x="36525" y="0"/>
                      <a:pt x="28976" y="0"/>
                    </a:cubicBezTo>
                    <a:lnTo>
                      <a:pt x="0" y="0"/>
                    </a:lnTo>
                    <a:lnTo>
                      <a:pt x="0" y="63380"/>
                    </a:lnTo>
                    <a:lnTo>
                      <a:pt x="13949" y="63380"/>
                    </a:lnTo>
                    <a:lnTo>
                      <a:pt x="13949" y="12586"/>
                    </a:lnTo>
                    <a:lnTo>
                      <a:pt x="27803" y="12586"/>
                    </a:lnTo>
                    <a:cubicBezTo>
                      <a:pt x="31240" y="12586"/>
                      <a:pt x="33930" y="13344"/>
                      <a:pt x="35862" y="14849"/>
                    </a:cubicBezTo>
                    <a:cubicBezTo>
                      <a:pt x="37793" y="16355"/>
                      <a:pt x="38765" y="18618"/>
                      <a:pt x="38765" y="21640"/>
                    </a:cubicBezTo>
                    <a:lnTo>
                      <a:pt x="38765" y="21818"/>
                    </a:lnTo>
                    <a:cubicBezTo>
                      <a:pt x="38765" y="24532"/>
                      <a:pt x="37841" y="26701"/>
                      <a:pt x="36004" y="28336"/>
                    </a:cubicBezTo>
                    <a:cubicBezTo>
                      <a:pt x="34167" y="29971"/>
                      <a:pt x="31524" y="30777"/>
                      <a:pt x="28075" y="30777"/>
                    </a:cubicBezTo>
                    <a:lnTo>
                      <a:pt x="20941" y="30777"/>
                    </a:lnTo>
                    <a:lnTo>
                      <a:pt x="20941" y="43091"/>
                    </a:lnTo>
                    <a:lnTo>
                      <a:pt x="36122" y="63368"/>
                    </a:lnTo>
                    <a:lnTo>
                      <a:pt x="54788" y="63368"/>
                    </a:lnTo>
                    <a:lnTo>
                      <a:pt x="36004" y="40732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4222C66-2BDC-D11D-4A46-0ADF351E4314}"/>
                </a:ext>
              </a:extLst>
            </p:cNvPr>
            <p:cNvGrpSpPr/>
            <p:nvPr/>
          </p:nvGrpSpPr>
          <p:grpSpPr>
            <a:xfrm>
              <a:off x="289932" y="6281977"/>
              <a:ext cx="3072104" cy="129643"/>
              <a:chOff x="-20516" y="2052871"/>
              <a:chExt cx="4706261" cy="198605"/>
            </a:xfrm>
            <a:grpFill/>
          </p:grpSpPr>
          <p:sp>
            <p:nvSpPr>
              <p:cNvPr id="17" name="AutoShape 24">
                <a:extLst>
                  <a:ext uri="{FF2B5EF4-FFF2-40B4-BE49-F238E27FC236}">
                    <a16:creationId xmlns:a16="http://schemas.microsoft.com/office/drawing/2014/main" id="{8A9BCAC9-D317-77E9-4DA8-7AE6EC6807D8}"/>
                  </a:ext>
                </a:extLst>
              </p:cNvPr>
              <p:cNvSpPr/>
              <p:nvPr/>
            </p:nvSpPr>
            <p:spPr>
              <a:xfrm flipV="1">
                <a:off x="1032937" y="2052871"/>
                <a:ext cx="3652808" cy="0"/>
              </a:xfrm>
              <a:prstGeom prst="line">
                <a:avLst/>
              </a:prstGeom>
              <a:grpFill/>
              <a:ln w="28575" cap="flat">
                <a:solidFill>
                  <a:schemeClr val="bg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AutoShape 24">
                <a:extLst>
                  <a:ext uri="{FF2B5EF4-FFF2-40B4-BE49-F238E27FC236}">
                    <a16:creationId xmlns:a16="http://schemas.microsoft.com/office/drawing/2014/main" id="{3050ADE1-EF00-D05B-0CC3-C9B99716B399}"/>
                  </a:ext>
                </a:extLst>
              </p:cNvPr>
              <p:cNvSpPr/>
              <p:nvPr/>
            </p:nvSpPr>
            <p:spPr>
              <a:xfrm flipV="1">
                <a:off x="-20516" y="2052877"/>
                <a:ext cx="927307" cy="0"/>
              </a:xfrm>
              <a:prstGeom prst="line">
                <a:avLst/>
              </a:prstGeom>
              <a:grpFill/>
              <a:ln w="28575" cap="flat">
                <a:solidFill>
                  <a:schemeClr val="bg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AutoShape 24">
                <a:extLst>
                  <a:ext uri="{FF2B5EF4-FFF2-40B4-BE49-F238E27FC236}">
                    <a16:creationId xmlns:a16="http://schemas.microsoft.com/office/drawing/2014/main" id="{701DE32D-8674-6E81-1F23-4CFF17E281D9}"/>
                  </a:ext>
                </a:extLst>
              </p:cNvPr>
              <p:cNvSpPr/>
              <p:nvPr/>
            </p:nvSpPr>
            <p:spPr>
              <a:xfrm flipH="1" flipV="1">
                <a:off x="968334" y="2131093"/>
                <a:ext cx="0" cy="120383"/>
              </a:xfrm>
              <a:prstGeom prst="line">
                <a:avLst/>
              </a:prstGeom>
              <a:grpFill/>
              <a:ln w="28575" cap="flat">
                <a:solidFill>
                  <a:schemeClr val="bg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48" name="Title 22">
            <a:extLst>
              <a:ext uri="{FF2B5EF4-FFF2-40B4-BE49-F238E27FC236}">
                <a16:creationId xmlns:a16="http://schemas.microsoft.com/office/drawing/2014/main" id="{777F6401-85E8-F74A-16CC-31167DCC7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416" y="377212"/>
            <a:ext cx="2872130" cy="783713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8894C82E-BA35-1024-75D9-ECDA7F483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416" y="5627127"/>
            <a:ext cx="2867048" cy="3776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l">
              <a:buNone/>
              <a:defRPr sz="1600"/>
            </a:lvl2pPr>
            <a:lvl3pPr marL="914400" indent="0" algn="l">
              <a:buNone/>
              <a:defRPr sz="1600"/>
            </a:lvl3pPr>
            <a:lvl4pPr marL="1371600" indent="0" algn="l">
              <a:buNone/>
              <a:defRPr sz="1600"/>
            </a:lvl4pPr>
            <a:lvl5pPr marL="1828800" indent="0" algn="l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C91035C-043D-C80F-8FB3-0E8AA090BB62}"/>
              </a:ext>
            </a:extLst>
          </p:cNvPr>
          <p:cNvSpPr txBox="1"/>
          <p:nvPr userDrawn="1"/>
        </p:nvSpPr>
        <p:spPr>
          <a:xfrm>
            <a:off x="3047114" y="6611779"/>
            <a:ext cx="609777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AU" sz="1000">
                <a:solidFill>
                  <a:schemeClr val="bg1">
                    <a:lumMod val="50000"/>
                  </a:schemeClr>
                </a:solidFill>
              </a:rPr>
              <a:t>CONFIDENTIAL MATERIAL – DO NOT DISTRIBUTE </a:t>
            </a:r>
          </a:p>
        </p:txBody>
      </p:sp>
    </p:spTree>
    <p:extLst>
      <p:ext uri="{BB962C8B-B14F-4D97-AF65-F5344CB8AC3E}">
        <p14:creationId xmlns:p14="http://schemas.microsoft.com/office/powerpoint/2010/main" val="994001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pli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D1C7D347-29AD-0F28-CFC1-9ACB07DD0A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03870" y="0"/>
            <a:ext cx="6088130" cy="6858000"/>
          </a:xfrm>
          <a:prstGeom prst="rect">
            <a:avLst/>
          </a:prstGeom>
          <a:pattFill prst="pct20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ZA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1FD76B72-4720-0ABD-1A93-DD27F4DE28EB}"/>
              </a:ext>
            </a:extLst>
          </p:cNvPr>
          <p:cNvSpPr txBox="1">
            <a:spLocks/>
          </p:cNvSpPr>
          <p:nvPr userDrawn="1"/>
        </p:nvSpPr>
        <p:spPr>
          <a:xfrm>
            <a:off x="10925833" y="6419828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1E3C"/>
                </a:solidFill>
                <a:effectLst/>
                <a:uLnTx/>
                <a:uFillTx/>
                <a:latin typeface="Avenir Next LT Pro" panose="020B05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1E3C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7623BD8-56FB-11F9-4991-BBFAA39A65FF}"/>
              </a:ext>
            </a:extLst>
          </p:cNvPr>
          <p:cNvGrpSpPr/>
          <p:nvPr userDrawn="1"/>
        </p:nvGrpSpPr>
        <p:grpSpPr>
          <a:xfrm>
            <a:off x="289932" y="6281977"/>
            <a:ext cx="5523639" cy="266800"/>
            <a:chOff x="289932" y="6281977"/>
            <a:chExt cx="5523639" cy="266800"/>
          </a:xfrm>
          <a:solidFill>
            <a:schemeClr val="tx1"/>
          </a:solidFill>
        </p:grpSpPr>
        <p:grpSp>
          <p:nvGrpSpPr>
            <p:cNvPr id="15" name="Graphic 25">
              <a:extLst>
                <a:ext uri="{FF2B5EF4-FFF2-40B4-BE49-F238E27FC236}">
                  <a16:creationId xmlns:a16="http://schemas.microsoft.com/office/drawing/2014/main" id="{2344EBB8-3B14-5CEE-E3B0-6361146A7313}"/>
                </a:ext>
              </a:extLst>
            </p:cNvPr>
            <p:cNvGrpSpPr/>
            <p:nvPr/>
          </p:nvGrpSpPr>
          <p:grpSpPr>
            <a:xfrm>
              <a:off x="641802" y="6483229"/>
              <a:ext cx="588657" cy="65548"/>
              <a:chOff x="1552708" y="6590654"/>
              <a:chExt cx="588657" cy="65548"/>
            </a:xfrm>
            <a:grpFill/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54A2F3DA-5931-098B-8A08-F53F7EB61CF7}"/>
                  </a:ext>
                </a:extLst>
              </p:cNvPr>
              <p:cNvSpPr/>
              <p:nvPr/>
            </p:nvSpPr>
            <p:spPr>
              <a:xfrm>
                <a:off x="1552708" y="6591721"/>
                <a:ext cx="52512" cy="63379"/>
              </a:xfrm>
              <a:custGeom>
                <a:avLst/>
                <a:gdLst>
                  <a:gd name="connsiteX0" fmla="*/ 33231 w 52512"/>
                  <a:gd name="connsiteY0" fmla="*/ 12858 h 63379"/>
                  <a:gd name="connsiteX1" fmla="*/ 33231 w 52512"/>
                  <a:gd name="connsiteY1" fmla="*/ 63380 h 63379"/>
                  <a:gd name="connsiteX2" fmla="*/ 19282 w 52512"/>
                  <a:gd name="connsiteY2" fmla="*/ 63380 h 63379"/>
                  <a:gd name="connsiteX3" fmla="*/ 19282 w 52512"/>
                  <a:gd name="connsiteY3" fmla="*/ 12858 h 63379"/>
                  <a:gd name="connsiteX4" fmla="*/ 0 w 52512"/>
                  <a:gd name="connsiteY4" fmla="*/ 12858 h 63379"/>
                  <a:gd name="connsiteX5" fmla="*/ 0 w 52512"/>
                  <a:gd name="connsiteY5" fmla="*/ 0 h 63379"/>
                  <a:gd name="connsiteX6" fmla="*/ 52512 w 52512"/>
                  <a:gd name="connsiteY6" fmla="*/ 0 h 63379"/>
                  <a:gd name="connsiteX7" fmla="*/ 52512 w 52512"/>
                  <a:gd name="connsiteY7" fmla="*/ 12858 h 63379"/>
                  <a:gd name="connsiteX8" fmla="*/ 33231 w 52512"/>
                  <a:gd name="connsiteY8" fmla="*/ 12858 h 63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512" h="63379">
                    <a:moveTo>
                      <a:pt x="33231" y="12858"/>
                    </a:moveTo>
                    <a:lnTo>
                      <a:pt x="33231" y="63380"/>
                    </a:lnTo>
                    <a:lnTo>
                      <a:pt x="19282" y="63380"/>
                    </a:lnTo>
                    <a:lnTo>
                      <a:pt x="19282" y="12858"/>
                    </a:lnTo>
                    <a:lnTo>
                      <a:pt x="0" y="12858"/>
                    </a:lnTo>
                    <a:lnTo>
                      <a:pt x="0" y="0"/>
                    </a:lnTo>
                    <a:lnTo>
                      <a:pt x="52512" y="0"/>
                    </a:lnTo>
                    <a:lnTo>
                      <a:pt x="52512" y="12858"/>
                    </a:lnTo>
                    <a:lnTo>
                      <a:pt x="33231" y="12858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2DF2FEC6-0BB6-23E6-A7EF-D56C3B586D2A}"/>
                  </a:ext>
                </a:extLst>
              </p:cNvPr>
              <p:cNvSpPr/>
              <p:nvPr/>
            </p:nvSpPr>
            <p:spPr>
              <a:xfrm>
                <a:off x="1613113" y="6590654"/>
                <a:ext cx="67361" cy="65548"/>
              </a:xfrm>
              <a:custGeom>
                <a:avLst/>
                <a:gdLst>
                  <a:gd name="connsiteX0" fmla="*/ 64826 w 67361"/>
                  <a:gd name="connsiteY0" fmla="*/ 45485 h 65548"/>
                  <a:gd name="connsiteX1" fmla="*/ 57810 w 67361"/>
                  <a:gd name="connsiteY1" fmla="*/ 55902 h 65548"/>
                  <a:gd name="connsiteX2" fmla="*/ 47120 w 67361"/>
                  <a:gd name="connsiteY2" fmla="*/ 62965 h 65548"/>
                  <a:gd name="connsiteX3" fmla="*/ 33586 w 67361"/>
                  <a:gd name="connsiteY3" fmla="*/ 65548 h 65548"/>
                  <a:gd name="connsiteX4" fmla="*/ 20100 w 67361"/>
                  <a:gd name="connsiteY4" fmla="*/ 62965 h 65548"/>
                  <a:gd name="connsiteX5" fmla="*/ 9457 w 67361"/>
                  <a:gd name="connsiteY5" fmla="*/ 55996 h 65548"/>
                  <a:gd name="connsiteX6" fmla="*/ 2489 w 67361"/>
                  <a:gd name="connsiteY6" fmla="*/ 45674 h 65548"/>
                  <a:gd name="connsiteX7" fmla="*/ 0 w 67361"/>
                  <a:gd name="connsiteY7" fmla="*/ 32958 h 65548"/>
                  <a:gd name="connsiteX8" fmla="*/ 0 w 67361"/>
                  <a:gd name="connsiteY8" fmla="*/ 32780 h 65548"/>
                  <a:gd name="connsiteX9" fmla="*/ 2536 w 67361"/>
                  <a:gd name="connsiteY9" fmla="*/ 20064 h 65548"/>
                  <a:gd name="connsiteX10" fmla="*/ 9552 w 67361"/>
                  <a:gd name="connsiteY10" fmla="*/ 9647 h 65548"/>
                  <a:gd name="connsiteX11" fmla="*/ 20242 w 67361"/>
                  <a:gd name="connsiteY11" fmla="*/ 2584 h 65548"/>
                  <a:gd name="connsiteX12" fmla="*/ 33776 w 67361"/>
                  <a:gd name="connsiteY12" fmla="*/ 0 h 65548"/>
                  <a:gd name="connsiteX13" fmla="*/ 47262 w 67361"/>
                  <a:gd name="connsiteY13" fmla="*/ 2584 h 65548"/>
                  <a:gd name="connsiteX14" fmla="*/ 57905 w 67361"/>
                  <a:gd name="connsiteY14" fmla="*/ 9552 h 65548"/>
                  <a:gd name="connsiteX15" fmla="*/ 64873 w 67361"/>
                  <a:gd name="connsiteY15" fmla="*/ 19874 h 65548"/>
                  <a:gd name="connsiteX16" fmla="*/ 67362 w 67361"/>
                  <a:gd name="connsiteY16" fmla="*/ 32591 h 65548"/>
                  <a:gd name="connsiteX17" fmla="*/ 67362 w 67361"/>
                  <a:gd name="connsiteY17" fmla="*/ 32768 h 65548"/>
                  <a:gd name="connsiteX18" fmla="*/ 64826 w 67361"/>
                  <a:gd name="connsiteY18" fmla="*/ 45496 h 65548"/>
                  <a:gd name="connsiteX19" fmla="*/ 52785 w 67361"/>
                  <a:gd name="connsiteY19" fmla="*/ 32756 h 65548"/>
                  <a:gd name="connsiteX20" fmla="*/ 51387 w 67361"/>
                  <a:gd name="connsiteY20" fmla="*/ 25065 h 65548"/>
                  <a:gd name="connsiteX21" fmla="*/ 47405 w 67361"/>
                  <a:gd name="connsiteY21" fmla="*/ 18725 h 65548"/>
                  <a:gd name="connsiteX22" fmla="*/ 41289 w 67361"/>
                  <a:gd name="connsiteY22" fmla="*/ 14423 h 65548"/>
                  <a:gd name="connsiteX23" fmla="*/ 33598 w 67361"/>
                  <a:gd name="connsiteY23" fmla="*/ 12835 h 65548"/>
                  <a:gd name="connsiteX24" fmla="*/ 25859 w 67361"/>
                  <a:gd name="connsiteY24" fmla="*/ 14375 h 65548"/>
                  <a:gd name="connsiteX25" fmla="*/ 19886 w 67361"/>
                  <a:gd name="connsiteY25" fmla="*/ 18630 h 65548"/>
                  <a:gd name="connsiteX26" fmla="*/ 15987 w 67361"/>
                  <a:gd name="connsiteY26" fmla="*/ 24923 h 65548"/>
                  <a:gd name="connsiteX27" fmla="*/ 14589 w 67361"/>
                  <a:gd name="connsiteY27" fmla="*/ 32579 h 65548"/>
                  <a:gd name="connsiteX28" fmla="*/ 14589 w 67361"/>
                  <a:gd name="connsiteY28" fmla="*/ 32756 h 65548"/>
                  <a:gd name="connsiteX29" fmla="*/ 15987 w 67361"/>
                  <a:gd name="connsiteY29" fmla="*/ 40448 h 65548"/>
                  <a:gd name="connsiteX30" fmla="*/ 19969 w 67361"/>
                  <a:gd name="connsiteY30" fmla="*/ 46788 h 65548"/>
                  <a:gd name="connsiteX31" fmla="*/ 26037 w 67361"/>
                  <a:gd name="connsiteY31" fmla="*/ 51090 h 65548"/>
                  <a:gd name="connsiteX32" fmla="*/ 33776 w 67361"/>
                  <a:gd name="connsiteY32" fmla="*/ 52678 h 65548"/>
                  <a:gd name="connsiteX33" fmla="*/ 41467 w 67361"/>
                  <a:gd name="connsiteY33" fmla="*/ 51138 h 65548"/>
                  <a:gd name="connsiteX34" fmla="*/ 47487 w 67361"/>
                  <a:gd name="connsiteY34" fmla="*/ 46883 h 65548"/>
                  <a:gd name="connsiteX35" fmla="*/ 51387 w 67361"/>
                  <a:gd name="connsiteY35" fmla="*/ 40590 h 65548"/>
                  <a:gd name="connsiteX36" fmla="*/ 52785 w 67361"/>
                  <a:gd name="connsiteY36" fmla="*/ 32934 h 65548"/>
                  <a:gd name="connsiteX37" fmla="*/ 52785 w 67361"/>
                  <a:gd name="connsiteY37" fmla="*/ 32756 h 65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7361" h="65548">
                    <a:moveTo>
                      <a:pt x="64826" y="45485"/>
                    </a:moveTo>
                    <a:cubicBezTo>
                      <a:pt x="63131" y="49443"/>
                      <a:pt x="60796" y="52903"/>
                      <a:pt x="57810" y="55902"/>
                    </a:cubicBezTo>
                    <a:cubicBezTo>
                      <a:pt x="54823" y="58900"/>
                      <a:pt x="51256" y="61247"/>
                      <a:pt x="47120" y="62965"/>
                    </a:cubicBezTo>
                    <a:cubicBezTo>
                      <a:pt x="42984" y="64683"/>
                      <a:pt x="38469" y="65548"/>
                      <a:pt x="33586" y="65548"/>
                    </a:cubicBezTo>
                    <a:cubicBezTo>
                      <a:pt x="28703" y="65548"/>
                      <a:pt x="24200" y="64683"/>
                      <a:pt x="20100" y="62965"/>
                    </a:cubicBezTo>
                    <a:cubicBezTo>
                      <a:pt x="15999" y="61247"/>
                      <a:pt x="12444" y="58924"/>
                      <a:pt x="9457" y="55996"/>
                    </a:cubicBezTo>
                    <a:cubicBezTo>
                      <a:pt x="6471" y="53069"/>
                      <a:pt x="4148" y="49632"/>
                      <a:pt x="2489" y="45674"/>
                    </a:cubicBezTo>
                    <a:cubicBezTo>
                      <a:pt x="830" y="41716"/>
                      <a:pt x="0" y="37485"/>
                      <a:pt x="0" y="32958"/>
                    </a:cubicBezTo>
                    <a:lnTo>
                      <a:pt x="0" y="32780"/>
                    </a:lnTo>
                    <a:cubicBezTo>
                      <a:pt x="0" y="28253"/>
                      <a:pt x="841" y="24010"/>
                      <a:pt x="2536" y="20064"/>
                    </a:cubicBezTo>
                    <a:cubicBezTo>
                      <a:pt x="4231" y="16118"/>
                      <a:pt x="6566" y="12645"/>
                      <a:pt x="9552" y="9647"/>
                    </a:cubicBezTo>
                    <a:cubicBezTo>
                      <a:pt x="12539" y="6660"/>
                      <a:pt x="16106" y="4302"/>
                      <a:pt x="20242" y="2584"/>
                    </a:cubicBezTo>
                    <a:cubicBezTo>
                      <a:pt x="24378" y="865"/>
                      <a:pt x="28893" y="0"/>
                      <a:pt x="33776" y="0"/>
                    </a:cubicBezTo>
                    <a:cubicBezTo>
                      <a:pt x="38658" y="0"/>
                      <a:pt x="43162" y="865"/>
                      <a:pt x="47262" y="2584"/>
                    </a:cubicBezTo>
                    <a:cubicBezTo>
                      <a:pt x="51363" y="4302"/>
                      <a:pt x="54918" y="6625"/>
                      <a:pt x="57905" y="9552"/>
                    </a:cubicBezTo>
                    <a:cubicBezTo>
                      <a:pt x="60891" y="12479"/>
                      <a:pt x="63214" y="15916"/>
                      <a:pt x="64873" y="19874"/>
                    </a:cubicBezTo>
                    <a:cubicBezTo>
                      <a:pt x="66532" y="23833"/>
                      <a:pt x="67362" y="28063"/>
                      <a:pt x="67362" y="32591"/>
                    </a:cubicBezTo>
                    <a:lnTo>
                      <a:pt x="67362" y="32768"/>
                    </a:lnTo>
                    <a:cubicBezTo>
                      <a:pt x="67362" y="37295"/>
                      <a:pt x="66520" y="41538"/>
                      <a:pt x="64826" y="45496"/>
                    </a:cubicBezTo>
                    <a:close/>
                    <a:moveTo>
                      <a:pt x="52785" y="32756"/>
                    </a:moveTo>
                    <a:cubicBezTo>
                      <a:pt x="52785" y="30043"/>
                      <a:pt x="52323" y="27471"/>
                      <a:pt x="51387" y="25065"/>
                    </a:cubicBezTo>
                    <a:cubicBezTo>
                      <a:pt x="50450" y="22647"/>
                      <a:pt x="49123" y="20538"/>
                      <a:pt x="47405" y="18725"/>
                    </a:cubicBezTo>
                    <a:cubicBezTo>
                      <a:pt x="45686" y="16912"/>
                      <a:pt x="43648" y="15478"/>
                      <a:pt x="41289" y="14423"/>
                    </a:cubicBezTo>
                    <a:cubicBezTo>
                      <a:pt x="38931" y="13368"/>
                      <a:pt x="36371" y="12835"/>
                      <a:pt x="33598" y="12835"/>
                    </a:cubicBezTo>
                    <a:cubicBezTo>
                      <a:pt x="30825" y="12835"/>
                      <a:pt x="28182" y="13344"/>
                      <a:pt x="25859" y="14375"/>
                    </a:cubicBezTo>
                    <a:cubicBezTo>
                      <a:pt x="23536" y="15406"/>
                      <a:pt x="21545" y="16817"/>
                      <a:pt x="19886" y="18630"/>
                    </a:cubicBezTo>
                    <a:cubicBezTo>
                      <a:pt x="18227" y="20443"/>
                      <a:pt x="16923" y="22541"/>
                      <a:pt x="15987" y="24923"/>
                    </a:cubicBezTo>
                    <a:cubicBezTo>
                      <a:pt x="15051" y="27305"/>
                      <a:pt x="14589" y="29853"/>
                      <a:pt x="14589" y="32579"/>
                    </a:cubicBezTo>
                    <a:lnTo>
                      <a:pt x="14589" y="32756"/>
                    </a:lnTo>
                    <a:cubicBezTo>
                      <a:pt x="14589" y="35470"/>
                      <a:pt x="15051" y="38042"/>
                      <a:pt x="15987" y="40448"/>
                    </a:cubicBezTo>
                    <a:cubicBezTo>
                      <a:pt x="16923" y="42865"/>
                      <a:pt x="18251" y="44975"/>
                      <a:pt x="19969" y="46788"/>
                    </a:cubicBezTo>
                    <a:cubicBezTo>
                      <a:pt x="21688" y="48601"/>
                      <a:pt x="23714" y="50035"/>
                      <a:pt x="26037" y="51090"/>
                    </a:cubicBezTo>
                    <a:cubicBezTo>
                      <a:pt x="28360" y="52145"/>
                      <a:pt x="30943" y="52678"/>
                      <a:pt x="33776" y="52678"/>
                    </a:cubicBezTo>
                    <a:cubicBezTo>
                      <a:pt x="36608" y="52678"/>
                      <a:pt x="39121" y="52169"/>
                      <a:pt x="41467" y="51138"/>
                    </a:cubicBezTo>
                    <a:cubicBezTo>
                      <a:pt x="43825" y="50106"/>
                      <a:pt x="45828" y="48696"/>
                      <a:pt x="47487" y="46883"/>
                    </a:cubicBezTo>
                    <a:cubicBezTo>
                      <a:pt x="49147" y="45070"/>
                      <a:pt x="50450" y="42972"/>
                      <a:pt x="51387" y="40590"/>
                    </a:cubicBezTo>
                    <a:cubicBezTo>
                      <a:pt x="52323" y="38208"/>
                      <a:pt x="52785" y="35660"/>
                      <a:pt x="52785" y="32934"/>
                    </a:cubicBezTo>
                    <a:lnTo>
                      <a:pt x="52785" y="32756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78E4683A-D662-4290-D908-79855495886A}"/>
                  </a:ext>
                </a:extLst>
              </p:cNvPr>
              <p:cNvSpPr/>
              <p:nvPr/>
            </p:nvSpPr>
            <p:spPr>
              <a:xfrm>
                <a:off x="1692871" y="6591709"/>
                <a:ext cx="63379" cy="63391"/>
              </a:xfrm>
              <a:custGeom>
                <a:avLst/>
                <a:gdLst>
                  <a:gd name="connsiteX0" fmla="*/ 49621 w 63379"/>
                  <a:gd name="connsiteY0" fmla="*/ 63392 h 63391"/>
                  <a:gd name="connsiteX1" fmla="*/ 49621 w 63379"/>
                  <a:gd name="connsiteY1" fmla="*/ 22008 h 63391"/>
                  <a:gd name="connsiteX2" fmla="*/ 31785 w 63379"/>
                  <a:gd name="connsiteY2" fmla="*/ 49075 h 63391"/>
                  <a:gd name="connsiteX3" fmla="*/ 31417 w 63379"/>
                  <a:gd name="connsiteY3" fmla="*/ 49075 h 63391"/>
                  <a:gd name="connsiteX4" fmla="*/ 13759 w 63379"/>
                  <a:gd name="connsiteY4" fmla="*/ 22268 h 63391"/>
                  <a:gd name="connsiteX5" fmla="*/ 13759 w 63379"/>
                  <a:gd name="connsiteY5" fmla="*/ 63380 h 63391"/>
                  <a:gd name="connsiteX6" fmla="*/ 0 w 63379"/>
                  <a:gd name="connsiteY6" fmla="*/ 63380 h 63391"/>
                  <a:gd name="connsiteX7" fmla="*/ 0 w 63379"/>
                  <a:gd name="connsiteY7" fmla="*/ 0 h 63391"/>
                  <a:gd name="connsiteX8" fmla="*/ 15027 w 63379"/>
                  <a:gd name="connsiteY8" fmla="*/ 0 h 63391"/>
                  <a:gd name="connsiteX9" fmla="*/ 31690 w 63379"/>
                  <a:gd name="connsiteY9" fmla="*/ 26807 h 63391"/>
                  <a:gd name="connsiteX10" fmla="*/ 48353 w 63379"/>
                  <a:gd name="connsiteY10" fmla="*/ 0 h 63391"/>
                  <a:gd name="connsiteX11" fmla="*/ 63380 w 63379"/>
                  <a:gd name="connsiteY11" fmla="*/ 0 h 63391"/>
                  <a:gd name="connsiteX12" fmla="*/ 63380 w 63379"/>
                  <a:gd name="connsiteY12" fmla="*/ 63380 h 63391"/>
                  <a:gd name="connsiteX13" fmla="*/ 49621 w 63379"/>
                  <a:gd name="connsiteY13" fmla="*/ 63380 h 63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3379" h="63391">
                    <a:moveTo>
                      <a:pt x="49621" y="63392"/>
                    </a:moveTo>
                    <a:lnTo>
                      <a:pt x="49621" y="22008"/>
                    </a:lnTo>
                    <a:lnTo>
                      <a:pt x="31785" y="49075"/>
                    </a:lnTo>
                    <a:lnTo>
                      <a:pt x="31417" y="49075"/>
                    </a:lnTo>
                    <a:lnTo>
                      <a:pt x="13759" y="22268"/>
                    </a:lnTo>
                    <a:lnTo>
                      <a:pt x="13759" y="63380"/>
                    </a:lnTo>
                    <a:lnTo>
                      <a:pt x="0" y="63380"/>
                    </a:lnTo>
                    <a:lnTo>
                      <a:pt x="0" y="0"/>
                    </a:lnTo>
                    <a:lnTo>
                      <a:pt x="15027" y="0"/>
                    </a:lnTo>
                    <a:lnTo>
                      <a:pt x="31690" y="26807"/>
                    </a:lnTo>
                    <a:lnTo>
                      <a:pt x="48353" y="0"/>
                    </a:lnTo>
                    <a:lnTo>
                      <a:pt x="63380" y="0"/>
                    </a:lnTo>
                    <a:lnTo>
                      <a:pt x="63380" y="63380"/>
                    </a:lnTo>
                    <a:lnTo>
                      <a:pt x="49621" y="63380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A1F9616A-3A89-2687-5759-2F8EE7D8381E}"/>
                  </a:ext>
                </a:extLst>
              </p:cNvPr>
              <p:cNvSpPr/>
              <p:nvPr/>
            </p:nvSpPr>
            <p:spPr>
              <a:xfrm>
                <a:off x="1768671" y="6590654"/>
                <a:ext cx="67361" cy="65548"/>
              </a:xfrm>
              <a:custGeom>
                <a:avLst/>
                <a:gdLst>
                  <a:gd name="connsiteX0" fmla="*/ 64826 w 67361"/>
                  <a:gd name="connsiteY0" fmla="*/ 45485 h 65548"/>
                  <a:gd name="connsiteX1" fmla="*/ 57810 w 67361"/>
                  <a:gd name="connsiteY1" fmla="*/ 55902 h 65548"/>
                  <a:gd name="connsiteX2" fmla="*/ 47120 w 67361"/>
                  <a:gd name="connsiteY2" fmla="*/ 62965 h 65548"/>
                  <a:gd name="connsiteX3" fmla="*/ 33586 w 67361"/>
                  <a:gd name="connsiteY3" fmla="*/ 65548 h 65548"/>
                  <a:gd name="connsiteX4" fmla="*/ 20100 w 67361"/>
                  <a:gd name="connsiteY4" fmla="*/ 62965 h 65548"/>
                  <a:gd name="connsiteX5" fmla="*/ 9457 w 67361"/>
                  <a:gd name="connsiteY5" fmla="*/ 55996 h 65548"/>
                  <a:gd name="connsiteX6" fmla="*/ 2489 w 67361"/>
                  <a:gd name="connsiteY6" fmla="*/ 45674 h 65548"/>
                  <a:gd name="connsiteX7" fmla="*/ 0 w 67361"/>
                  <a:gd name="connsiteY7" fmla="*/ 32958 h 65548"/>
                  <a:gd name="connsiteX8" fmla="*/ 0 w 67361"/>
                  <a:gd name="connsiteY8" fmla="*/ 32780 h 65548"/>
                  <a:gd name="connsiteX9" fmla="*/ 2536 w 67361"/>
                  <a:gd name="connsiteY9" fmla="*/ 20064 h 65548"/>
                  <a:gd name="connsiteX10" fmla="*/ 9552 w 67361"/>
                  <a:gd name="connsiteY10" fmla="*/ 9647 h 65548"/>
                  <a:gd name="connsiteX11" fmla="*/ 20242 w 67361"/>
                  <a:gd name="connsiteY11" fmla="*/ 2584 h 65548"/>
                  <a:gd name="connsiteX12" fmla="*/ 33776 w 67361"/>
                  <a:gd name="connsiteY12" fmla="*/ 0 h 65548"/>
                  <a:gd name="connsiteX13" fmla="*/ 47262 w 67361"/>
                  <a:gd name="connsiteY13" fmla="*/ 2584 h 65548"/>
                  <a:gd name="connsiteX14" fmla="*/ 57905 w 67361"/>
                  <a:gd name="connsiteY14" fmla="*/ 9552 h 65548"/>
                  <a:gd name="connsiteX15" fmla="*/ 64873 w 67361"/>
                  <a:gd name="connsiteY15" fmla="*/ 19874 h 65548"/>
                  <a:gd name="connsiteX16" fmla="*/ 67362 w 67361"/>
                  <a:gd name="connsiteY16" fmla="*/ 32591 h 65548"/>
                  <a:gd name="connsiteX17" fmla="*/ 67362 w 67361"/>
                  <a:gd name="connsiteY17" fmla="*/ 32768 h 65548"/>
                  <a:gd name="connsiteX18" fmla="*/ 64826 w 67361"/>
                  <a:gd name="connsiteY18" fmla="*/ 45496 h 65548"/>
                  <a:gd name="connsiteX19" fmla="*/ 52785 w 67361"/>
                  <a:gd name="connsiteY19" fmla="*/ 32756 h 65548"/>
                  <a:gd name="connsiteX20" fmla="*/ 51387 w 67361"/>
                  <a:gd name="connsiteY20" fmla="*/ 25065 h 65548"/>
                  <a:gd name="connsiteX21" fmla="*/ 47405 w 67361"/>
                  <a:gd name="connsiteY21" fmla="*/ 18725 h 65548"/>
                  <a:gd name="connsiteX22" fmla="*/ 41289 w 67361"/>
                  <a:gd name="connsiteY22" fmla="*/ 14423 h 65548"/>
                  <a:gd name="connsiteX23" fmla="*/ 33598 w 67361"/>
                  <a:gd name="connsiteY23" fmla="*/ 12835 h 65548"/>
                  <a:gd name="connsiteX24" fmla="*/ 25859 w 67361"/>
                  <a:gd name="connsiteY24" fmla="*/ 14375 h 65548"/>
                  <a:gd name="connsiteX25" fmla="*/ 19886 w 67361"/>
                  <a:gd name="connsiteY25" fmla="*/ 18630 h 65548"/>
                  <a:gd name="connsiteX26" fmla="*/ 15987 w 67361"/>
                  <a:gd name="connsiteY26" fmla="*/ 24923 h 65548"/>
                  <a:gd name="connsiteX27" fmla="*/ 14589 w 67361"/>
                  <a:gd name="connsiteY27" fmla="*/ 32579 h 65548"/>
                  <a:gd name="connsiteX28" fmla="*/ 14589 w 67361"/>
                  <a:gd name="connsiteY28" fmla="*/ 32756 h 65548"/>
                  <a:gd name="connsiteX29" fmla="*/ 15987 w 67361"/>
                  <a:gd name="connsiteY29" fmla="*/ 40448 h 65548"/>
                  <a:gd name="connsiteX30" fmla="*/ 19969 w 67361"/>
                  <a:gd name="connsiteY30" fmla="*/ 46788 h 65548"/>
                  <a:gd name="connsiteX31" fmla="*/ 26037 w 67361"/>
                  <a:gd name="connsiteY31" fmla="*/ 51090 h 65548"/>
                  <a:gd name="connsiteX32" fmla="*/ 33776 w 67361"/>
                  <a:gd name="connsiteY32" fmla="*/ 52678 h 65548"/>
                  <a:gd name="connsiteX33" fmla="*/ 41467 w 67361"/>
                  <a:gd name="connsiteY33" fmla="*/ 51138 h 65548"/>
                  <a:gd name="connsiteX34" fmla="*/ 47488 w 67361"/>
                  <a:gd name="connsiteY34" fmla="*/ 46883 h 65548"/>
                  <a:gd name="connsiteX35" fmla="*/ 51387 w 67361"/>
                  <a:gd name="connsiteY35" fmla="*/ 40590 h 65548"/>
                  <a:gd name="connsiteX36" fmla="*/ 52785 w 67361"/>
                  <a:gd name="connsiteY36" fmla="*/ 32934 h 65548"/>
                  <a:gd name="connsiteX37" fmla="*/ 52785 w 67361"/>
                  <a:gd name="connsiteY37" fmla="*/ 32756 h 65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7361" h="65548">
                    <a:moveTo>
                      <a:pt x="64826" y="45485"/>
                    </a:moveTo>
                    <a:cubicBezTo>
                      <a:pt x="63131" y="49443"/>
                      <a:pt x="60796" y="52903"/>
                      <a:pt x="57810" y="55902"/>
                    </a:cubicBezTo>
                    <a:cubicBezTo>
                      <a:pt x="54823" y="58900"/>
                      <a:pt x="51256" y="61247"/>
                      <a:pt x="47120" y="62965"/>
                    </a:cubicBezTo>
                    <a:cubicBezTo>
                      <a:pt x="42984" y="64683"/>
                      <a:pt x="38469" y="65548"/>
                      <a:pt x="33586" y="65548"/>
                    </a:cubicBezTo>
                    <a:cubicBezTo>
                      <a:pt x="28703" y="65548"/>
                      <a:pt x="24200" y="64683"/>
                      <a:pt x="20100" y="62965"/>
                    </a:cubicBezTo>
                    <a:cubicBezTo>
                      <a:pt x="15999" y="61247"/>
                      <a:pt x="12444" y="58924"/>
                      <a:pt x="9457" y="55996"/>
                    </a:cubicBezTo>
                    <a:cubicBezTo>
                      <a:pt x="6471" y="53069"/>
                      <a:pt x="4148" y="49632"/>
                      <a:pt x="2489" y="45674"/>
                    </a:cubicBezTo>
                    <a:cubicBezTo>
                      <a:pt x="830" y="41716"/>
                      <a:pt x="0" y="37485"/>
                      <a:pt x="0" y="32958"/>
                    </a:cubicBezTo>
                    <a:lnTo>
                      <a:pt x="0" y="32780"/>
                    </a:lnTo>
                    <a:cubicBezTo>
                      <a:pt x="0" y="28253"/>
                      <a:pt x="841" y="24010"/>
                      <a:pt x="2536" y="20064"/>
                    </a:cubicBezTo>
                    <a:cubicBezTo>
                      <a:pt x="4231" y="16118"/>
                      <a:pt x="6566" y="12645"/>
                      <a:pt x="9552" y="9647"/>
                    </a:cubicBezTo>
                    <a:cubicBezTo>
                      <a:pt x="12539" y="6660"/>
                      <a:pt x="16106" y="4302"/>
                      <a:pt x="20242" y="2584"/>
                    </a:cubicBezTo>
                    <a:cubicBezTo>
                      <a:pt x="24378" y="865"/>
                      <a:pt x="28893" y="0"/>
                      <a:pt x="33776" y="0"/>
                    </a:cubicBezTo>
                    <a:cubicBezTo>
                      <a:pt x="38658" y="0"/>
                      <a:pt x="43162" y="865"/>
                      <a:pt x="47262" y="2584"/>
                    </a:cubicBezTo>
                    <a:cubicBezTo>
                      <a:pt x="51363" y="4302"/>
                      <a:pt x="54918" y="6625"/>
                      <a:pt x="57905" y="9552"/>
                    </a:cubicBezTo>
                    <a:cubicBezTo>
                      <a:pt x="60891" y="12479"/>
                      <a:pt x="63214" y="15916"/>
                      <a:pt x="64873" y="19874"/>
                    </a:cubicBezTo>
                    <a:cubicBezTo>
                      <a:pt x="66532" y="23833"/>
                      <a:pt x="67362" y="28063"/>
                      <a:pt x="67362" y="32591"/>
                    </a:cubicBezTo>
                    <a:lnTo>
                      <a:pt x="67362" y="32768"/>
                    </a:lnTo>
                    <a:cubicBezTo>
                      <a:pt x="67362" y="37295"/>
                      <a:pt x="66520" y="41538"/>
                      <a:pt x="64826" y="45496"/>
                    </a:cubicBezTo>
                    <a:close/>
                    <a:moveTo>
                      <a:pt x="52785" y="32756"/>
                    </a:moveTo>
                    <a:cubicBezTo>
                      <a:pt x="52785" y="30043"/>
                      <a:pt x="52323" y="27471"/>
                      <a:pt x="51387" y="25065"/>
                    </a:cubicBezTo>
                    <a:cubicBezTo>
                      <a:pt x="50450" y="22647"/>
                      <a:pt x="49123" y="20538"/>
                      <a:pt x="47405" y="18725"/>
                    </a:cubicBezTo>
                    <a:cubicBezTo>
                      <a:pt x="45686" y="16912"/>
                      <a:pt x="43648" y="15478"/>
                      <a:pt x="41289" y="14423"/>
                    </a:cubicBezTo>
                    <a:cubicBezTo>
                      <a:pt x="38931" y="13368"/>
                      <a:pt x="36371" y="12835"/>
                      <a:pt x="33598" y="12835"/>
                    </a:cubicBezTo>
                    <a:cubicBezTo>
                      <a:pt x="30825" y="12835"/>
                      <a:pt x="28182" y="13344"/>
                      <a:pt x="25859" y="14375"/>
                    </a:cubicBezTo>
                    <a:cubicBezTo>
                      <a:pt x="23536" y="15406"/>
                      <a:pt x="21545" y="16817"/>
                      <a:pt x="19886" y="18630"/>
                    </a:cubicBezTo>
                    <a:cubicBezTo>
                      <a:pt x="18227" y="20443"/>
                      <a:pt x="16923" y="22541"/>
                      <a:pt x="15987" y="24923"/>
                    </a:cubicBezTo>
                    <a:cubicBezTo>
                      <a:pt x="15051" y="27305"/>
                      <a:pt x="14589" y="29853"/>
                      <a:pt x="14589" y="32579"/>
                    </a:cubicBezTo>
                    <a:lnTo>
                      <a:pt x="14589" y="32756"/>
                    </a:lnTo>
                    <a:cubicBezTo>
                      <a:pt x="14589" y="35470"/>
                      <a:pt x="15051" y="38042"/>
                      <a:pt x="15987" y="40448"/>
                    </a:cubicBezTo>
                    <a:cubicBezTo>
                      <a:pt x="16923" y="42865"/>
                      <a:pt x="18251" y="44975"/>
                      <a:pt x="19969" y="46788"/>
                    </a:cubicBezTo>
                    <a:cubicBezTo>
                      <a:pt x="21688" y="48601"/>
                      <a:pt x="23714" y="50035"/>
                      <a:pt x="26037" y="51090"/>
                    </a:cubicBezTo>
                    <a:cubicBezTo>
                      <a:pt x="28360" y="52145"/>
                      <a:pt x="30943" y="52678"/>
                      <a:pt x="33776" y="52678"/>
                    </a:cubicBezTo>
                    <a:cubicBezTo>
                      <a:pt x="36608" y="52678"/>
                      <a:pt x="39121" y="52169"/>
                      <a:pt x="41467" y="51138"/>
                    </a:cubicBezTo>
                    <a:cubicBezTo>
                      <a:pt x="43826" y="50106"/>
                      <a:pt x="45828" y="48696"/>
                      <a:pt x="47488" y="46883"/>
                    </a:cubicBezTo>
                    <a:cubicBezTo>
                      <a:pt x="49147" y="45070"/>
                      <a:pt x="50450" y="42972"/>
                      <a:pt x="51387" y="40590"/>
                    </a:cubicBezTo>
                    <a:cubicBezTo>
                      <a:pt x="52323" y="38208"/>
                      <a:pt x="52785" y="35660"/>
                      <a:pt x="52785" y="32934"/>
                    </a:cubicBezTo>
                    <a:lnTo>
                      <a:pt x="52785" y="32756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AFF6907E-2FEF-A4FC-C034-325104EEFC44}"/>
                  </a:ext>
                </a:extLst>
              </p:cNvPr>
              <p:cNvSpPr/>
              <p:nvPr/>
            </p:nvSpPr>
            <p:spPr>
              <a:xfrm>
                <a:off x="1976552" y="6590654"/>
                <a:ext cx="67361" cy="65548"/>
              </a:xfrm>
              <a:custGeom>
                <a:avLst/>
                <a:gdLst>
                  <a:gd name="connsiteX0" fmla="*/ 64826 w 67361"/>
                  <a:gd name="connsiteY0" fmla="*/ 45485 h 65548"/>
                  <a:gd name="connsiteX1" fmla="*/ 57810 w 67361"/>
                  <a:gd name="connsiteY1" fmla="*/ 55902 h 65548"/>
                  <a:gd name="connsiteX2" fmla="*/ 47120 w 67361"/>
                  <a:gd name="connsiteY2" fmla="*/ 62965 h 65548"/>
                  <a:gd name="connsiteX3" fmla="*/ 33586 w 67361"/>
                  <a:gd name="connsiteY3" fmla="*/ 65548 h 65548"/>
                  <a:gd name="connsiteX4" fmla="*/ 20099 w 67361"/>
                  <a:gd name="connsiteY4" fmla="*/ 62965 h 65548"/>
                  <a:gd name="connsiteX5" fmla="*/ 9457 w 67361"/>
                  <a:gd name="connsiteY5" fmla="*/ 55996 h 65548"/>
                  <a:gd name="connsiteX6" fmla="*/ 2489 w 67361"/>
                  <a:gd name="connsiteY6" fmla="*/ 45674 h 65548"/>
                  <a:gd name="connsiteX7" fmla="*/ 0 w 67361"/>
                  <a:gd name="connsiteY7" fmla="*/ 32958 h 65548"/>
                  <a:gd name="connsiteX8" fmla="*/ 0 w 67361"/>
                  <a:gd name="connsiteY8" fmla="*/ 32780 h 65548"/>
                  <a:gd name="connsiteX9" fmla="*/ 2536 w 67361"/>
                  <a:gd name="connsiteY9" fmla="*/ 20064 h 65548"/>
                  <a:gd name="connsiteX10" fmla="*/ 9552 w 67361"/>
                  <a:gd name="connsiteY10" fmla="*/ 9647 h 65548"/>
                  <a:gd name="connsiteX11" fmla="*/ 20242 w 67361"/>
                  <a:gd name="connsiteY11" fmla="*/ 2584 h 65548"/>
                  <a:gd name="connsiteX12" fmla="*/ 33776 w 67361"/>
                  <a:gd name="connsiteY12" fmla="*/ 0 h 65548"/>
                  <a:gd name="connsiteX13" fmla="*/ 47262 w 67361"/>
                  <a:gd name="connsiteY13" fmla="*/ 2584 h 65548"/>
                  <a:gd name="connsiteX14" fmla="*/ 57905 w 67361"/>
                  <a:gd name="connsiteY14" fmla="*/ 9552 h 65548"/>
                  <a:gd name="connsiteX15" fmla="*/ 64873 w 67361"/>
                  <a:gd name="connsiteY15" fmla="*/ 19874 h 65548"/>
                  <a:gd name="connsiteX16" fmla="*/ 67362 w 67361"/>
                  <a:gd name="connsiteY16" fmla="*/ 32591 h 65548"/>
                  <a:gd name="connsiteX17" fmla="*/ 67362 w 67361"/>
                  <a:gd name="connsiteY17" fmla="*/ 32768 h 65548"/>
                  <a:gd name="connsiteX18" fmla="*/ 64826 w 67361"/>
                  <a:gd name="connsiteY18" fmla="*/ 45496 h 65548"/>
                  <a:gd name="connsiteX19" fmla="*/ 52785 w 67361"/>
                  <a:gd name="connsiteY19" fmla="*/ 32756 h 65548"/>
                  <a:gd name="connsiteX20" fmla="*/ 51387 w 67361"/>
                  <a:gd name="connsiteY20" fmla="*/ 25065 h 65548"/>
                  <a:gd name="connsiteX21" fmla="*/ 47405 w 67361"/>
                  <a:gd name="connsiteY21" fmla="*/ 18725 h 65548"/>
                  <a:gd name="connsiteX22" fmla="*/ 41289 w 67361"/>
                  <a:gd name="connsiteY22" fmla="*/ 14423 h 65548"/>
                  <a:gd name="connsiteX23" fmla="*/ 33598 w 67361"/>
                  <a:gd name="connsiteY23" fmla="*/ 12835 h 65548"/>
                  <a:gd name="connsiteX24" fmla="*/ 25859 w 67361"/>
                  <a:gd name="connsiteY24" fmla="*/ 14375 h 65548"/>
                  <a:gd name="connsiteX25" fmla="*/ 19886 w 67361"/>
                  <a:gd name="connsiteY25" fmla="*/ 18630 h 65548"/>
                  <a:gd name="connsiteX26" fmla="*/ 15987 w 67361"/>
                  <a:gd name="connsiteY26" fmla="*/ 24923 h 65548"/>
                  <a:gd name="connsiteX27" fmla="*/ 14589 w 67361"/>
                  <a:gd name="connsiteY27" fmla="*/ 32579 h 65548"/>
                  <a:gd name="connsiteX28" fmla="*/ 14589 w 67361"/>
                  <a:gd name="connsiteY28" fmla="*/ 32756 h 65548"/>
                  <a:gd name="connsiteX29" fmla="*/ 15987 w 67361"/>
                  <a:gd name="connsiteY29" fmla="*/ 40448 h 65548"/>
                  <a:gd name="connsiteX30" fmla="*/ 19969 w 67361"/>
                  <a:gd name="connsiteY30" fmla="*/ 46788 h 65548"/>
                  <a:gd name="connsiteX31" fmla="*/ 26037 w 67361"/>
                  <a:gd name="connsiteY31" fmla="*/ 51090 h 65548"/>
                  <a:gd name="connsiteX32" fmla="*/ 33776 w 67361"/>
                  <a:gd name="connsiteY32" fmla="*/ 52678 h 65548"/>
                  <a:gd name="connsiteX33" fmla="*/ 41467 w 67361"/>
                  <a:gd name="connsiteY33" fmla="*/ 51138 h 65548"/>
                  <a:gd name="connsiteX34" fmla="*/ 47487 w 67361"/>
                  <a:gd name="connsiteY34" fmla="*/ 46883 h 65548"/>
                  <a:gd name="connsiteX35" fmla="*/ 51387 w 67361"/>
                  <a:gd name="connsiteY35" fmla="*/ 40590 h 65548"/>
                  <a:gd name="connsiteX36" fmla="*/ 52785 w 67361"/>
                  <a:gd name="connsiteY36" fmla="*/ 32934 h 65548"/>
                  <a:gd name="connsiteX37" fmla="*/ 52785 w 67361"/>
                  <a:gd name="connsiteY37" fmla="*/ 32756 h 65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7361" h="65548">
                    <a:moveTo>
                      <a:pt x="64826" y="45485"/>
                    </a:moveTo>
                    <a:cubicBezTo>
                      <a:pt x="63131" y="49443"/>
                      <a:pt x="60796" y="52903"/>
                      <a:pt x="57810" y="55902"/>
                    </a:cubicBezTo>
                    <a:cubicBezTo>
                      <a:pt x="54823" y="58900"/>
                      <a:pt x="51256" y="61247"/>
                      <a:pt x="47120" y="62965"/>
                    </a:cubicBezTo>
                    <a:cubicBezTo>
                      <a:pt x="42984" y="64683"/>
                      <a:pt x="38469" y="65548"/>
                      <a:pt x="33586" y="65548"/>
                    </a:cubicBezTo>
                    <a:cubicBezTo>
                      <a:pt x="28703" y="65548"/>
                      <a:pt x="24200" y="64683"/>
                      <a:pt x="20099" y="62965"/>
                    </a:cubicBezTo>
                    <a:cubicBezTo>
                      <a:pt x="15999" y="61247"/>
                      <a:pt x="12444" y="58924"/>
                      <a:pt x="9457" y="55996"/>
                    </a:cubicBezTo>
                    <a:cubicBezTo>
                      <a:pt x="6471" y="53069"/>
                      <a:pt x="4148" y="49632"/>
                      <a:pt x="2489" y="45674"/>
                    </a:cubicBezTo>
                    <a:cubicBezTo>
                      <a:pt x="830" y="41716"/>
                      <a:pt x="0" y="37485"/>
                      <a:pt x="0" y="32958"/>
                    </a:cubicBezTo>
                    <a:lnTo>
                      <a:pt x="0" y="32780"/>
                    </a:lnTo>
                    <a:cubicBezTo>
                      <a:pt x="0" y="28253"/>
                      <a:pt x="841" y="24010"/>
                      <a:pt x="2536" y="20064"/>
                    </a:cubicBezTo>
                    <a:cubicBezTo>
                      <a:pt x="4231" y="16118"/>
                      <a:pt x="6566" y="12645"/>
                      <a:pt x="9552" y="9647"/>
                    </a:cubicBezTo>
                    <a:cubicBezTo>
                      <a:pt x="12538" y="6660"/>
                      <a:pt x="16106" y="4302"/>
                      <a:pt x="20242" y="2584"/>
                    </a:cubicBezTo>
                    <a:cubicBezTo>
                      <a:pt x="24378" y="865"/>
                      <a:pt x="28893" y="0"/>
                      <a:pt x="33776" y="0"/>
                    </a:cubicBezTo>
                    <a:cubicBezTo>
                      <a:pt x="38658" y="0"/>
                      <a:pt x="43162" y="865"/>
                      <a:pt x="47262" y="2584"/>
                    </a:cubicBezTo>
                    <a:cubicBezTo>
                      <a:pt x="51363" y="4302"/>
                      <a:pt x="54918" y="6625"/>
                      <a:pt x="57905" y="9552"/>
                    </a:cubicBezTo>
                    <a:cubicBezTo>
                      <a:pt x="60891" y="12479"/>
                      <a:pt x="63214" y="15916"/>
                      <a:pt x="64873" y="19874"/>
                    </a:cubicBezTo>
                    <a:cubicBezTo>
                      <a:pt x="66532" y="23833"/>
                      <a:pt x="67362" y="28063"/>
                      <a:pt x="67362" y="32591"/>
                    </a:cubicBezTo>
                    <a:lnTo>
                      <a:pt x="67362" y="32768"/>
                    </a:lnTo>
                    <a:cubicBezTo>
                      <a:pt x="67362" y="37295"/>
                      <a:pt x="66520" y="41538"/>
                      <a:pt x="64826" y="45496"/>
                    </a:cubicBezTo>
                    <a:close/>
                    <a:moveTo>
                      <a:pt x="52785" y="32756"/>
                    </a:moveTo>
                    <a:cubicBezTo>
                      <a:pt x="52785" y="30043"/>
                      <a:pt x="52323" y="27471"/>
                      <a:pt x="51387" y="25065"/>
                    </a:cubicBezTo>
                    <a:cubicBezTo>
                      <a:pt x="50450" y="22647"/>
                      <a:pt x="49123" y="20538"/>
                      <a:pt x="47405" y="18725"/>
                    </a:cubicBezTo>
                    <a:cubicBezTo>
                      <a:pt x="45686" y="16912"/>
                      <a:pt x="43648" y="15478"/>
                      <a:pt x="41289" y="14423"/>
                    </a:cubicBezTo>
                    <a:cubicBezTo>
                      <a:pt x="38931" y="13368"/>
                      <a:pt x="36371" y="12835"/>
                      <a:pt x="33598" y="12835"/>
                    </a:cubicBezTo>
                    <a:cubicBezTo>
                      <a:pt x="30825" y="12835"/>
                      <a:pt x="28182" y="13344"/>
                      <a:pt x="25859" y="14375"/>
                    </a:cubicBezTo>
                    <a:cubicBezTo>
                      <a:pt x="23536" y="15406"/>
                      <a:pt x="21545" y="16817"/>
                      <a:pt x="19886" y="18630"/>
                    </a:cubicBezTo>
                    <a:cubicBezTo>
                      <a:pt x="18227" y="20443"/>
                      <a:pt x="16923" y="22541"/>
                      <a:pt x="15987" y="24923"/>
                    </a:cubicBezTo>
                    <a:cubicBezTo>
                      <a:pt x="15051" y="27305"/>
                      <a:pt x="14589" y="29853"/>
                      <a:pt x="14589" y="32579"/>
                    </a:cubicBezTo>
                    <a:lnTo>
                      <a:pt x="14589" y="32756"/>
                    </a:lnTo>
                    <a:cubicBezTo>
                      <a:pt x="14589" y="35470"/>
                      <a:pt x="15051" y="38042"/>
                      <a:pt x="15987" y="40448"/>
                    </a:cubicBezTo>
                    <a:cubicBezTo>
                      <a:pt x="16923" y="42865"/>
                      <a:pt x="18251" y="44975"/>
                      <a:pt x="19969" y="46788"/>
                    </a:cubicBezTo>
                    <a:cubicBezTo>
                      <a:pt x="21688" y="48601"/>
                      <a:pt x="23714" y="50035"/>
                      <a:pt x="26037" y="51090"/>
                    </a:cubicBezTo>
                    <a:cubicBezTo>
                      <a:pt x="28360" y="52145"/>
                      <a:pt x="30943" y="52678"/>
                      <a:pt x="33776" y="52678"/>
                    </a:cubicBezTo>
                    <a:cubicBezTo>
                      <a:pt x="36608" y="52678"/>
                      <a:pt x="39121" y="52169"/>
                      <a:pt x="41467" y="51138"/>
                    </a:cubicBezTo>
                    <a:cubicBezTo>
                      <a:pt x="43825" y="50106"/>
                      <a:pt x="45828" y="48696"/>
                      <a:pt x="47487" y="46883"/>
                    </a:cubicBezTo>
                    <a:cubicBezTo>
                      <a:pt x="49147" y="45070"/>
                      <a:pt x="50450" y="42972"/>
                      <a:pt x="51387" y="40590"/>
                    </a:cubicBezTo>
                    <a:cubicBezTo>
                      <a:pt x="52323" y="38208"/>
                      <a:pt x="52785" y="35660"/>
                      <a:pt x="52785" y="32934"/>
                    </a:cubicBezTo>
                    <a:lnTo>
                      <a:pt x="52785" y="32756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4EF11F01-56CB-C7D3-124F-BC5C3E95331F}"/>
                  </a:ext>
                </a:extLst>
              </p:cNvPr>
              <p:cNvSpPr/>
              <p:nvPr/>
            </p:nvSpPr>
            <p:spPr>
              <a:xfrm>
                <a:off x="2045181" y="6591543"/>
                <a:ext cx="96183" cy="64019"/>
              </a:xfrm>
              <a:custGeom>
                <a:avLst/>
                <a:gdLst>
                  <a:gd name="connsiteX0" fmla="*/ 74520 w 96183"/>
                  <a:gd name="connsiteY0" fmla="*/ 64020 h 64019"/>
                  <a:gd name="connsiteX1" fmla="*/ 62384 w 96183"/>
                  <a:gd name="connsiteY1" fmla="*/ 64020 h 64019"/>
                  <a:gd name="connsiteX2" fmla="*/ 48080 w 96183"/>
                  <a:gd name="connsiteY2" fmla="*/ 22553 h 64019"/>
                  <a:gd name="connsiteX3" fmla="*/ 33776 w 96183"/>
                  <a:gd name="connsiteY3" fmla="*/ 64020 h 64019"/>
                  <a:gd name="connsiteX4" fmla="*/ 21640 w 96183"/>
                  <a:gd name="connsiteY4" fmla="*/ 64020 h 64019"/>
                  <a:gd name="connsiteX5" fmla="*/ 0 w 96183"/>
                  <a:gd name="connsiteY5" fmla="*/ 190 h 64019"/>
                  <a:gd name="connsiteX6" fmla="*/ 14944 w 96183"/>
                  <a:gd name="connsiteY6" fmla="*/ 190 h 64019"/>
                  <a:gd name="connsiteX7" fmla="*/ 28075 w 96183"/>
                  <a:gd name="connsiteY7" fmla="*/ 43102 h 64019"/>
                  <a:gd name="connsiteX8" fmla="*/ 42297 w 96183"/>
                  <a:gd name="connsiteY8" fmla="*/ 0 h 64019"/>
                  <a:gd name="connsiteX9" fmla="*/ 54254 w 96183"/>
                  <a:gd name="connsiteY9" fmla="*/ 0 h 64019"/>
                  <a:gd name="connsiteX10" fmla="*/ 68476 w 96183"/>
                  <a:gd name="connsiteY10" fmla="*/ 43102 h 64019"/>
                  <a:gd name="connsiteX11" fmla="*/ 81607 w 96183"/>
                  <a:gd name="connsiteY11" fmla="*/ 190 h 64019"/>
                  <a:gd name="connsiteX12" fmla="*/ 96184 w 96183"/>
                  <a:gd name="connsiteY12" fmla="*/ 190 h 64019"/>
                  <a:gd name="connsiteX13" fmla="*/ 74544 w 96183"/>
                  <a:gd name="connsiteY13" fmla="*/ 64020 h 64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6183" h="64019">
                    <a:moveTo>
                      <a:pt x="74520" y="64020"/>
                    </a:moveTo>
                    <a:lnTo>
                      <a:pt x="62384" y="64020"/>
                    </a:lnTo>
                    <a:lnTo>
                      <a:pt x="48080" y="22553"/>
                    </a:lnTo>
                    <a:lnTo>
                      <a:pt x="33776" y="64020"/>
                    </a:lnTo>
                    <a:lnTo>
                      <a:pt x="21640" y="64020"/>
                    </a:lnTo>
                    <a:lnTo>
                      <a:pt x="0" y="190"/>
                    </a:lnTo>
                    <a:lnTo>
                      <a:pt x="14944" y="190"/>
                    </a:lnTo>
                    <a:lnTo>
                      <a:pt x="28075" y="43102"/>
                    </a:lnTo>
                    <a:lnTo>
                      <a:pt x="42297" y="0"/>
                    </a:lnTo>
                    <a:lnTo>
                      <a:pt x="54254" y="0"/>
                    </a:lnTo>
                    <a:lnTo>
                      <a:pt x="68476" y="43102"/>
                    </a:lnTo>
                    <a:lnTo>
                      <a:pt x="81607" y="190"/>
                    </a:lnTo>
                    <a:lnTo>
                      <a:pt x="96184" y="190"/>
                    </a:lnTo>
                    <a:lnTo>
                      <a:pt x="74544" y="64020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AF9E907-C88B-0AEB-FD27-ABA04C2A684B}"/>
                  </a:ext>
                </a:extLst>
              </p:cNvPr>
              <p:cNvSpPr/>
              <p:nvPr/>
            </p:nvSpPr>
            <p:spPr>
              <a:xfrm>
                <a:off x="1847244" y="6591863"/>
                <a:ext cx="54787" cy="63379"/>
              </a:xfrm>
              <a:custGeom>
                <a:avLst/>
                <a:gdLst>
                  <a:gd name="connsiteX0" fmla="*/ 36004 w 54787"/>
                  <a:gd name="connsiteY0" fmla="*/ 40744 h 63379"/>
                  <a:gd name="connsiteX1" fmla="*/ 49123 w 54787"/>
                  <a:gd name="connsiteY1" fmla="*/ 33633 h 63379"/>
                  <a:gd name="connsiteX2" fmla="*/ 52880 w 54787"/>
                  <a:gd name="connsiteY2" fmla="*/ 21095 h 63379"/>
                  <a:gd name="connsiteX3" fmla="*/ 52880 w 54787"/>
                  <a:gd name="connsiteY3" fmla="*/ 20917 h 63379"/>
                  <a:gd name="connsiteX4" fmla="*/ 46587 w 54787"/>
                  <a:gd name="connsiteY4" fmla="*/ 5523 h 63379"/>
                  <a:gd name="connsiteX5" fmla="*/ 28976 w 54787"/>
                  <a:gd name="connsiteY5" fmla="*/ 0 h 63379"/>
                  <a:gd name="connsiteX6" fmla="*/ 0 w 54787"/>
                  <a:gd name="connsiteY6" fmla="*/ 0 h 63379"/>
                  <a:gd name="connsiteX7" fmla="*/ 0 w 54787"/>
                  <a:gd name="connsiteY7" fmla="*/ 63380 h 63379"/>
                  <a:gd name="connsiteX8" fmla="*/ 13949 w 54787"/>
                  <a:gd name="connsiteY8" fmla="*/ 63380 h 63379"/>
                  <a:gd name="connsiteX9" fmla="*/ 13949 w 54787"/>
                  <a:gd name="connsiteY9" fmla="*/ 12586 h 63379"/>
                  <a:gd name="connsiteX10" fmla="*/ 27803 w 54787"/>
                  <a:gd name="connsiteY10" fmla="*/ 12586 h 63379"/>
                  <a:gd name="connsiteX11" fmla="*/ 35862 w 54787"/>
                  <a:gd name="connsiteY11" fmla="*/ 14849 h 63379"/>
                  <a:gd name="connsiteX12" fmla="*/ 38765 w 54787"/>
                  <a:gd name="connsiteY12" fmla="*/ 21640 h 63379"/>
                  <a:gd name="connsiteX13" fmla="*/ 38765 w 54787"/>
                  <a:gd name="connsiteY13" fmla="*/ 21818 h 63379"/>
                  <a:gd name="connsiteX14" fmla="*/ 36004 w 54787"/>
                  <a:gd name="connsiteY14" fmla="*/ 28336 h 63379"/>
                  <a:gd name="connsiteX15" fmla="*/ 28075 w 54787"/>
                  <a:gd name="connsiteY15" fmla="*/ 30777 h 63379"/>
                  <a:gd name="connsiteX16" fmla="*/ 20941 w 54787"/>
                  <a:gd name="connsiteY16" fmla="*/ 30777 h 63379"/>
                  <a:gd name="connsiteX17" fmla="*/ 20941 w 54787"/>
                  <a:gd name="connsiteY17" fmla="*/ 43091 h 63379"/>
                  <a:gd name="connsiteX18" fmla="*/ 36122 w 54787"/>
                  <a:gd name="connsiteY18" fmla="*/ 63368 h 63379"/>
                  <a:gd name="connsiteX19" fmla="*/ 54788 w 54787"/>
                  <a:gd name="connsiteY19" fmla="*/ 63368 h 63379"/>
                  <a:gd name="connsiteX20" fmla="*/ 36004 w 54787"/>
                  <a:gd name="connsiteY20" fmla="*/ 40732 h 63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4787" h="63379">
                    <a:moveTo>
                      <a:pt x="36004" y="40744"/>
                    </a:moveTo>
                    <a:cubicBezTo>
                      <a:pt x="43956" y="39038"/>
                      <a:pt x="46622" y="36869"/>
                      <a:pt x="49123" y="33633"/>
                    </a:cubicBezTo>
                    <a:cubicBezTo>
                      <a:pt x="51624" y="30398"/>
                      <a:pt x="52880" y="26227"/>
                      <a:pt x="52880" y="21095"/>
                    </a:cubicBezTo>
                    <a:lnTo>
                      <a:pt x="52880" y="20917"/>
                    </a:lnTo>
                    <a:cubicBezTo>
                      <a:pt x="52880" y="14340"/>
                      <a:pt x="50782" y="9208"/>
                      <a:pt x="46587" y="5523"/>
                    </a:cubicBezTo>
                    <a:cubicBezTo>
                      <a:pt x="42391" y="1837"/>
                      <a:pt x="36525" y="0"/>
                      <a:pt x="28976" y="0"/>
                    </a:cubicBezTo>
                    <a:lnTo>
                      <a:pt x="0" y="0"/>
                    </a:lnTo>
                    <a:lnTo>
                      <a:pt x="0" y="63380"/>
                    </a:lnTo>
                    <a:lnTo>
                      <a:pt x="13949" y="63380"/>
                    </a:lnTo>
                    <a:lnTo>
                      <a:pt x="13949" y="12586"/>
                    </a:lnTo>
                    <a:lnTo>
                      <a:pt x="27803" y="12586"/>
                    </a:lnTo>
                    <a:cubicBezTo>
                      <a:pt x="31240" y="12586"/>
                      <a:pt x="33930" y="13344"/>
                      <a:pt x="35862" y="14849"/>
                    </a:cubicBezTo>
                    <a:cubicBezTo>
                      <a:pt x="37793" y="16355"/>
                      <a:pt x="38765" y="18618"/>
                      <a:pt x="38765" y="21640"/>
                    </a:cubicBezTo>
                    <a:lnTo>
                      <a:pt x="38765" y="21818"/>
                    </a:lnTo>
                    <a:cubicBezTo>
                      <a:pt x="38765" y="24532"/>
                      <a:pt x="37841" y="26701"/>
                      <a:pt x="36004" y="28336"/>
                    </a:cubicBezTo>
                    <a:cubicBezTo>
                      <a:pt x="34167" y="29971"/>
                      <a:pt x="31524" y="30777"/>
                      <a:pt x="28075" y="30777"/>
                    </a:cubicBezTo>
                    <a:lnTo>
                      <a:pt x="20941" y="30777"/>
                    </a:lnTo>
                    <a:lnTo>
                      <a:pt x="20941" y="43091"/>
                    </a:lnTo>
                    <a:lnTo>
                      <a:pt x="36122" y="63368"/>
                    </a:lnTo>
                    <a:lnTo>
                      <a:pt x="54788" y="63368"/>
                    </a:lnTo>
                    <a:lnTo>
                      <a:pt x="36004" y="40732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8AB0850E-57B9-7543-0828-D0D2ACAD70F8}"/>
                  </a:ext>
                </a:extLst>
              </p:cNvPr>
              <p:cNvSpPr/>
              <p:nvPr/>
            </p:nvSpPr>
            <p:spPr>
              <a:xfrm>
                <a:off x="1913895" y="6591863"/>
                <a:ext cx="54787" cy="63379"/>
              </a:xfrm>
              <a:custGeom>
                <a:avLst/>
                <a:gdLst>
                  <a:gd name="connsiteX0" fmla="*/ 36004 w 54787"/>
                  <a:gd name="connsiteY0" fmla="*/ 40744 h 63379"/>
                  <a:gd name="connsiteX1" fmla="*/ 49123 w 54787"/>
                  <a:gd name="connsiteY1" fmla="*/ 33633 h 63379"/>
                  <a:gd name="connsiteX2" fmla="*/ 52880 w 54787"/>
                  <a:gd name="connsiteY2" fmla="*/ 21095 h 63379"/>
                  <a:gd name="connsiteX3" fmla="*/ 52880 w 54787"/>
                  <a:gd name="connsiteY3" fmla="*/ 20917 h 63379"/>
                  <a:gd name="connsiteX4" fmla="*/ 46587 w 54787"/>
                  <a:gd name="connsiteY4" fmla="*/ 5523 h 63379"/>
                  <a:gd name="connsiteX5" fmla="*/ 28976 w 54787"/>
                  <a:gd name="connsiteY5" fmla="*/ 0 h 63379"/>
                  <a:gd name="connsiteX6" fmla="*/ 0 w 54787"/>
                  <a:gd name="connsiteY6" fmla="*/ 0 h 63379"/>
                  <a:gd name="connsiteX7" fmla="*/ 0 w 54787"/>
                  <a:gd name="connsiteY7" fmla="*/ 63380 h 63379"/>
                  <a:gd name="connsiteX8" fmla="*/ 13949 w 54787"/>
                  <a:gd name="connsiteY8" fmla="*/ 63380 h 63379"/>
                  <a:gd name="connsiteX9" fmla="*/ 13949 w 54787"/>
                  <a:gd name="connsiteY9" fmla="*/ 12586 h 63379"/>
                  <a:gd name="connsiteX10" fmla="*/ 27803 w 54787"/>
                  <a:gd name="connsiteY10" fmla="*/ 12586 h 63379"/>
                  <a:gd name="connsiteX11" fmla="*/ 35862 w 54787"/>
                  <a:gd name="connsiteY11" fmla="*/ 14849 h 63379"/>
                  <a:gd name="connsiteX12" fmla="*/ 38765 w 54787"/>
                  <a:gd name="connsiteY12" fmla="*/ 21640 h 63379"/>
                  <a:gd name="connsiteX13" fmla="*/ 38765 w 54787"/>
                  <a:gd name="connsiteY13" fmla="*/ 21818 h 63379"/>
                  <a:gd name="connsiteX14" fmla="*/ 36004 w 54787"/>
                  <a:gd name="connsiteY14" fmla="*/ 28336 h 63379"/>
                  <a:gd name="connsiteX15" fmla="*/ 28075 w 54787"/>
                  <a:gd name="connsiteY15" fmla="*/ 30777 h 63379"/>
                  <a:gd name="connsiteX16" fmla="*/ 20941 w 54787"/>
                  <a:gd name="connsiteY16" fmla="*/ 30777 h 63379"/>
                  <a:gd name="connsiteX17" fmla="*/ 20941 w 54787"/>
                  <a:gd name="connsiteY17" fmla="*/ 43091 h 63379"/>
                  <a:gd name="connsiteX18" fmla="*/ 36122 w 54787"/>
                  <a:gd name="connsiteY18" fmla="*/ 63368 h 63379"/>
                  <a:gd name="connsiteX19" fmla="*/ 54788 w 54787"/>
                  <a:gd name="connsiteY19" fmla="*/ 63368 h 63379"/>
                  <a:gd name="connsiteX20" fmla="*/ 36004 w 54787"/>
                  <a:gd name="connsiteY20" fmla="*/ 40732 h 63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4787" h="63379">
                    <a:moveTo>
                      <a:pt x="36004" y="40744"/>
                    </a:moveTo>
                    <a:cubicBezTo>
                      <a:pt x="43956" y="39038"/>
                      <a:pt x="46622" y="36869"/>
                      <a:pt x="49123" y="33633"/>
                    </a:cubicBezTo>
                    <a:cubicBezTo>
                      <a:pt x="51624" y="30398"/>
                      <a:pt x="52880" y="26227"/>
                      <a:pt x="52880" y="21095"/>
                    </a:cubicBezTo>
                    <a:lnTo>
                      <a:pt x="52880" y="20917"/>
                    </a:lnTo>
                    <a:cubicBezTo>
                      <a:pt x="52880" y="14340"/>
                      <a:pt x="50782" y="9208"/>
                      <a:pt x="46587" y="5523"/>
                    </a:cubicBezTo>
                    <a:cubicBezTo>
                      <a:pt x="42391" y="1837"/>
                      <a:pt x="36525" y="0"/>
                      <a:pt x="28976" y="0"/>
                    </a:cubicBezTo>
                    <a:lnTo>
                      <a:pt x="0" y="0"/>
                    </a:lnTo>
                    <a:lnTo>
                      <a:pt x="0" y="63380"/>
                    </a:lnTo>
                    <a:lnTo>
                      <a:pt x="13949" y="63380"/>
                    </a:lnTo>
                    <a:lnTo>
                      <a:pt x="13949" y="12586"/>
                    </a:lnTo>
                    <a:lnTo>
                      <a:pt x="27803" y="12586"/>
                    </a:lnTo>
                    <a:cubicBezTo>
                      <a:pt x="31240" y="12586"/>
                      <a:pt x="33930" y="13344"/>
                      <a:pt x="35862" y="14849"/>
                    </a:cubicBezTo>
                    <a:cubicBezTo>
                      <a:pt x="37793" y="16355"/>
                      <a:pt x="38765" y="18618"/>
                      <a:pt x="38765" y="21640"/>
                    </a:cubicBezTo>
                    <a:lnTo>
                      <a:pt x="38765" y="21818"/>
                    </a:lnTo>
                    <a:cubicBezTo>
                      <a:pt x="38765" y="24532"/>
                      <a:pt x="37841" y="26701"/>
                      <a:pt x="36004" y="28336"/>
                    </a:cubicBezTo>
                    <a:cubicBezTo>
                      <a:pt x="34167" y="29971"/>
                      <a:pt x="31524" y="30777"/>
                      <a:pt x="28075" y="30777"/>
                    </a:cubicBezTo>
                    <a:lnTo>
                      <a:pt x="20941" y="30777"/>
                    </a:lnTo>
                    <a:lnTo>
                      <a:pt x="20941" y="43091"/>
                    </a:lnTo>
                    <a:lnTo>
                      <a:pt x="36122" y="63368"/>
                    </a:lnTo>
                    <a:lnTo>
                      <a:pt x="54788" y="63368"/>
                    </a:lnTo>
                    <a:lnTo>
                      <a:pt x="36004" y="40732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4222C66-2BDC-D11D-4A46-0ADF351E4314}"/>
                </a:ext>
              </a:extLst>
            </p:cNvPr>
            <p:cNvGrpSpPr/>
            <p:nvPr/>
          </p:nvGrpSpPr>
          <p:grpSpPr>
            <a:xfrm>
              <a:off x="289932" y="6281977"/>
              <a:ext cx="5523639" cy="129643"/>
              <a:chOff x="-20516" y="2052871"/>
              <a:chExt cx="8461851" cy="198605"/>
            </a:xfrm>
            <a:grpFill/>
          </p:grpSpPr>
          <p:sp>
            <p:nvSpPr>
              <p:cNvPr id="17" name="AutoShape 24">
                <a:extLst>
                  <a:ext uri="{FF2B5EF4-FFF2-40B4-BE49-F238E27FC236}">
                    <a16:creationId xmlns:a16="http://schemas.microsoft.com/office/drawing/2014/main" id="{8A9BCAC9-D317-77E9-4DA8-7AE6EC6807D8}"/>
                  </a:ext>
                </a:extLst>
              </p:cNvPr>
              <p:cNvSpPr/>
              <p:nvPr/>
            </p:nvSpPr>
            <p:spPr>
              <a:xfrm flipV="1">
                <a:off x="1032937" y="2052871"/>
                <a:ext cx="7408398" cy="0"/>
              </a:xfrm>
              <a:prstGeom prst="line">
                <a:avLst/>
              </a:prstGeom>
              <a:grpFill/>
              <a:ln w="28575" cap="flat">
                <a:solidFill>
                  <a:schemeClr val="tx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ZA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AutoShape 24">
                <a:extLst>
                  <a:ext uri="{FF2B5EF4-FFF2-40B4-BE49-F238E27FC236}">
                    <a16:creationId xmlns:a16="http://schemas.microsoft.com/office/drawing/2014/main" id="{3050ADE1-EF00-D05B-0CC3-C9B99716B399}"/>
                  </a:ext>
                </a:extLst>
              </p:cNvPr>
              <p:cNvSpPr/>
              <p:nvPr/>
            </p:nvSpPr>
            <p:spPr>
              <a:xfrm flipV="1">
                <a:off x="-20516" y="2052877"/>
                <a:ext cx="927307" cy="0"/>
              </a:xfrm>
              <a:prstGeom prst="line">
                <a:avLst/>
              </a:prstGeom>
              <a:grpFill/>
              <a:ln w="28575" cap="flat">
                <a:solidFill>
                  <a:schemeClr val="tx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ZA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AutoShape 24">
                <a:extLst>
                  <a:ext uri="{FF2B5EF4-FFF2-40B4-BE49-F238E27FC236}">
                    <a16:creationId xmlns:a16="http://schemas.microsoft.com/office/drawing/2014/main" id="{701DE32D-8674-6E81-1F23-4CFF17E281D9}"/>
                  </a:ext>
                </a:extLst>
              </p:cNvPr>
              <p:cNvSpPr/>
              <p:nvPr/>
            </p:nvSpPr>
            <p:spPr>
              <a:xfrm flipH="1" flipV="1">
                <a:off x="968334" y="2131093"/>
                <a:ext cx="0" cy="120383"/>
              </a:xfrm>
              <a:prstGeom prst="line">
                <a:avLst/>
              </a:prstGeom>
              <a:grpFill/>
              <a:ln w="28575" cap="flat">
                <a:solidFill>
                  <a:schemeClr val="tx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ZA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48" name="Title 22">
            <a:extLst>
              <a:ext uri="{FF2B5EF4-FFF2-40B4-BE49-F238E27FC236}">
                <a16:creationId xmlns:a16="http://schemas.microsoft.com/office/drawing/2014/main" id="{777F6401-85E8-F74A-16CC-31167DCC7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075" y="575013"/>
            <a:ext cx="5172287" cy="377626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8894C82E-BA35-1024-75D9-ECDA7F483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0202" y="1556724"/>
            <a:ext cx="5184344" cy="452279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400">
                <a:solidFill>
                  <a:schemeClr val="tx2"/>
                </a:solidFill>
              </a:defRPr>
            </a:lvl1pPr>
            <a:lvl2pPr marL="457200" indent="0" algn="l">
              <a:buNone/>
              <a:defRPr sz="1600"/>
            </a:lvl2pPr>
            <a:lvl3pPr marL="914400" indent="0" algn="l">
              <a:buNone/>
              <a:defRPr sz="1600"/>
            </a:lvl3pPr>
            <a:lvl4pPr marL="1371600" indent="0" algn="l">
              <a:buNone/>
              <a:defRPr sz="1600"/>
            </a:lvl4pPr>
            <a:lvl5pPr marL="1828800" indent="0" algn="l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7AAECF0-E649-084B-D3A3-0312F8C43A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417" y="1050288"/>
            <a:ext cx="5171817" cy="3051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tabLst>
                <a:tab pos="1435100" algn="l"/>
              </a:tabLst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subheading tex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B2EBC4A-9623-C98E-6CF4-19E95020A29A}"/>
              </a:ext>
            </a:extLst>
          </p:cNvPr>
          <p:cNvSpPr txBox="1"/>
          <p:nvPr userDrawn="1"/>
        </p:nvSpPr>
        <p:spPr>
          <a:xfrm>
            <a:off x="-15071" y="6611779"/>
            <a:ext cx="609777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AU" sz="1000">
                <a:solidFill>
                  <a:schemeClr val="bg1">
                    <a:lumMod val="50000"/>
                  </a:schemeClr>
                </a:solidFill>
              </a:rPr>
              <a:t>CONFIDENTIAL MATERIAL – DO NOT DISTRIBUTE </a:t>
            </a:r>
          </a:p>
        </p:txBody>
      </p:sp>
    </p:spTree>
    <p:extLst>
      <p:ext uri="{BB962C8B-B14F-4D97-AF65-F5344CB8AC3E}">
        <p14:creationId xmlns:p14="http://schemas.microsoft.com/office/powerpoint/2010/main" val="892368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A2F31819-AF97-5FF6-03C3-9196BC1451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5E0691-C93E-4D61-8BB9-2D4B1F9B50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799" y="1273302"/>
            <a:ext cx="5920499" cy="1362076"/>
          </a:xfrm>
        </p:spPr>
        <p:txBody>
          <a:bodyPr anchor="t" anchorCtr="0"/>
          <a:lstStyle>
            <a:lvl1pPr algn="l">
              <a:defRPr sz="4200" spc="-200" baseline="0">
                <a:solidFill>
                  <a:schemeClr val="bg1"/>
                </a:solidFill>
              </a:defRPr>
            </a:lvl1pPr>
          </a:lstStyle>
          <a:p>
            <a:r>
              <a:rPr lang="en-AU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7EBD72-EB9F-48DA-81AD-08DDE37CD84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0" y="2862202"/>
            <a:ext cx="5760000" cy="258396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1600" b="1" spc="-5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AU" noProof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824C130-C324-E709-699E-47E57B86E6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4800" y="6152663"/>
            <a:ext cx="1884525" cy="400536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2474FAC-702E-67BA-08CA-07553FAC8F99}"/>
              </a:ext>
            </a:extLst>
          </p:cNvPr>
          <p:cNvCxnSpPr>
            <a:cxnSpLocks/>
          </p:cNvCxnSpPr>
          <p:nvPr userDrawn="1"/>
        </p:nvCxnSpPr>
        <p:spPr>
          <a:xfrm>
            <a:off x="334799" y="2914518"/>
            <a:ext cx="0" cy="396000"/>
          </a:xfrm>
          <a:prstGeom prst="line">
            <a:avLst/>
          </a:prstGeom>
          <a:ln w="254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DB6650E-F4E9-0F04-23F2-086ABFAD5015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95300" y="3109342"/>
            <a:ext cx="5760000" cy="25920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 spc="-5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dat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876AEA4-87EA-5475-32D8-0482D9FF1DF2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600824" y="6419850"/>
            <a:ext cx="5255175" cy="237600"/>
          </a:xfrm>
        </p:spPr>
        <p:txBody>
          <a:bodyPr wrap="none" anchor="ctr" anchorCtr="0"/>
          <a:lstStyle>
            <a:lvl1pPr marL="0" indent="0" algn="r">
              <a:spcBef>
                <a:spcPts val="0"/>
              </a:spcBef>
              <a:buNone/>
              <a:defRPr sz="900" b="0" spc="-2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39504797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pli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D1C7D347-29AD-0F28-CFC1-9ACB07DD0A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03870" y="0"/>
            <a:ext cx="6088130" cy="6858000"/>
          </a:xfrm>
          <a:prstGeom prst="rect">
            <a:avLst/>
          </a:prstGeom>
          <a:pattFill prst="pct20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ZA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5D1A88F-61A0-231F-8430-DA7CF8E3CE00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rgbClr val="001E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7623BD8-56FB-11F9-4991-BBFAA39A65FF}"/>
              </a:ext>
            </a:extLst>
          </p:cNvPr>
          <p:cNvGrpSpPr/>
          <p:nvPr userDrawn="1"/>
        </p:nvGrpSpPr>
        <p:grpSpPr>
          <a:xfrm>
            <a:off x="289932" y="6281977"/>
            <a:ext cx="5523639" cy="266800"/>
            <a:chOff x="289932" y="6281977"/>
            <a:chExt cx="5523639" cy="266800"/>
          </a:xfrm>
          <a:solidFill>
            <a:schemeClr val="bg1"/>
          </a:solidFill>
        </p:grpSpPr>
        <p:grpSp>
          <p:nvGrpSpPr>
            <p:cNvPr id="15" name="Graphic 25">
              <a:extLst>
                <a:ext uri="{FF2B5EF4-FFF2-40B4-BE49-F238E27FC236}">
                  <a16:creationId xmlns:a16="http://schemas.microsoft.com/office/drawing/2014/main" id="{2344EBB8-3B14-5CEE-E3B0-6361146A7313}"/>
                </a:ext>
              </a:extLst>
            </p:cNvPr>
            <p:cNvGrpSpPr/>
            <p:nvPr/>
          </p:nvGrpSpPr>
          <p:grpSpPr>
            <a:xfrm>
              <a:off x="641802" y="6483229"/>
              <a:ext cx="588657" cy="65548"/>
              <a:chOff x="1552708" y="6590654"/>
              <a:chExt cx="588657" cy="65548"/>
            </a:xfrm>
            <a:grpFill/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54A2F3DA-5931-098B-8A08-F53F7EB61CF7}"/>
                  </a:ext>
                </a:extLst>
              </p:cNvPr>
              <p:cNvSpPr/>
              <p:nvPr/>
            </p:nvSpPr>
            <p:spPr>
              <a:xfrm>
                <a:off x="1552708" y="6591721"/>
                <a:ext cx="52512" cy="63379"/>
              </a:xfrm>
              <a:custGeom>
                <a:avLst/>
                <a:gdLst>
                  <a:gd name="connsiteX0" fmla="*/ 33231 w 52512"/>
                  <a:gd name="connsiteY0" fmla="*/ 12858 h 63379"/>
                  <a:gd name="connsiteX1" fmla="*/ 33231 w 52512"/>
                  <a:gd name="connsiteY1" fmla="*/ 63380 h 63379"/>
                  <a:gd name="connsiteX2" fmla="*/ 19282 w 52512"/>
                  <a:gd name="connsiteY2" fmla="*/ 63380 h 63379"/>
                  <a:gd name="connsiteX3" fmla="*/ 19282 w 52512"/>
                  <a:gd name="connsiteY3" fmla="*/ 12858 h 63379"/>
                  <a:gd name="connsiteX4" fmla="*/ 0 w 52512"/>
                  <a:gd name="connsiteY4" fmla="*/ 12858 h 63379"/>
                  <a:gd name="connsiteX5" fmla="*/ 0 w 52512"/>
                  <a:gd name="connsiteY5" fmla="*/ 0 h 63379"/>
                  <a:gd name="connsiteX6" fmla="*/ 52512 w 52512"/>
                  <a:gd name="connsiteY6" fmla="*/ 0 h 63379"/>
                  <a:gd name="connsiteX7" fmla="*/ 52512 w 52512"/>
                  <a:gd name="connsiteY7" fmla="*/ 12858 h 63379"/>
                  <a:gd name="connsiteX8" fmla="*/ 33231 w 52512"/>
                  <a:gd name="connsiteY8" fmla="*/ 12858 h 63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512" h="63379">
                    <a:moveTo>
                      <a:pt x="33231" y="12858"/>
                    </a:moveTo>
                    <a:lnTo>
                      <a:pt x="33231" y="63380"/>
                    </a:lnTo>
                    <a:lnTo>
                      <a:pt x="19282" y="63380"/>
                    </a:lnTo>
                    <a:lnTo>
                      <a:pt x="19282" y="12858"/>
                    </a:lnTo>
                    <a:lnTo>
                      <a:pt x="0" y="12858"/>
                    </a:lnTo>
                    <a:lnTo>
                      <a:pt x="0" y="0"/>
                    </a:lnTo>
                    <a:lnTo>
                      <a:pt x="52512" y="0"/>
                    </a:lnTo>
                    <a:lnTo>
                      <a:pt x="52512" y="12858"/>
                    </a:lnTo>
                    <a:lnTo>
                      <a:pt x="33231" y="12858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2DF2FEC6-0BB6-23E6-A7EF-D56C3B586D2A}"/>
                  </a:ext>
                </a:extLst>
              </p:cNvPr>
              <p:cNvSpPr/>
              <p:nvPr/>
            </p:nvSpPr>
            <p:spPr>
              <a:xfrm>
                <a:off x="1613113" y="6590654"/>
                <a:ext cx="67361" cy="65548"/>
              </a:xfrm>
              <a:custGeom>
                <a:avLst/>
                <a:gdLst>
                  <a:gd name="connsiteX0" fmla="*/ 64826 w 67361"/>
                  <a:gd name="connsiteY0" fmla="*/ 45485 h 65548"/>
                  <a:gd name="connsiteX1" fmla="*/ 57810 w 67361"/>
                  <a:gd name="connsiteY1" fmla="*/ 55902 h 65548"/>
                  <a:gd name="connsiteX2" fmla="*/ 47120 w 67361"/>
                  <a:gd name="connsiteY2" fmla="*/ 62965 h 65548"/>
                  <a:gd name="connsiteX3" fmla="*/ 33586 w 67361"/>
                  <a:gd name="connsiteY3" fmla="*/ 65548 h 65548"/>
                  <a:gd name="connsiteX4" fmla="*/ 20100 w 67361"/>
                  <a:gd name="connsiteY4" fmla="*/ 62965 h 65548"/>
                  <a:gd name="connsiteX5" fmla="*/ 9457 w 67361"/>
                  <a:gd name="connsiteY5" fmla="*/ 55996 h 65548"/>
                  <a:gd name="connsiteX6" fmla="*/ 2489 w 67361"/>
                  <a:gd name="connsiteY6" fmla="*/ 45674 h 65548"/>
                  <a:gd name="connsiteX7" fmla="*/ 0 w 67361"/>
                  <a:gd name="connsiteY7" fmla="*/ 32958 h 65548"/>
                  <a:gd name="connsiteX8" fmla="*/ 0 w 67361"/>
                  <a:gd name="connsiteY8" fmla="*/ 32780 h 65548"/>
                  <a:gd name="connsiteX9" fmla="*/ 2536 w 67361"/>
                  <a:gd name="connsiteY9" fmla="*/ 20064 h 65548"/>
                  <a:gd name="connsiteX10" fmla="*/ 9552 w 67361"/>
                  <a:gd name="connsiteY10" fmla="*/ 9647 h 65548"/>
                  <a:gd name="connsiteX11" fmla="*/ 20242 w 67361"/>
                  <a:gd name="connsiteY11" fmla="*/ 2584 h 65548"/>
                  <a:gd name="connsiteX12" fmla="*/ 33776 w 67361"/>
                  <a:gd name="connsiteY12" fmla="*/ 0 h 65548"/>
                  <a:gd name="connsiteX13" fmla="*/ 47262 w 67361"/>
                  <a:gd name="connsiteY13" fmla="*/ 2584 h 65548"/>
                  <a:gd name="connsiteX14" fmla="*/ 57905 w 67361"/>
                  <a:gd name="connsiteY14" fmla="*/ 9552 h 65548"/>
                  <a:gd name="connsiteX15" fmla="*/ 64873 w 67361"/>
                  <a:gd name="connsiteY15" fmla="*/ 19874 h 65548"/>
                  <a:gd name="connsiteX16" fmla="*/ 67362 w 67361"/>
                  <a:gd name="connsiteY16" fmla="*/ 32591 h 65548"/>
                  <a:gd name="connsiteX17" fmla="*/ 67362 w 67361"/>
                  <a:gd name="connsiteY17" fmla="*/ 32768 h 65548"/>
                  <a:gd name="connsiteX18" fmla="*/ 64826 w 67361"/>
                  <a:gd name="connsiteY18" fmla="*/ 45496 h 65548"/>
                  <a:gd name="connsiteX19" fmla="*/ 52785 w 67361"/>
                  <a:gd name="connsiteY19" fmla="*/ 32756 h 65548"/>
                  <a:gd name="connsiteX20" fmla="*/ 51387 w 67361"/>
                  <a:gd name="connsiteY20" fmla="*/ 25065 h 65548"/>
                  <a:gd name="connsiteX21" fmla="*/ 47405 w 67361"/>
                  <a:gd name="connsiteY21" fmla="*/ 18725 h 65548"/>
                  <a:gd name="connsiteX22" fmla="*/ 41289 w 67361"/>
                  <a:gd name="connsiteY22" fmla="*/ 14423 h 65548"/>
                  <a:gd name="connsiteX23" fmla="*/ 33598 w 67361"/>
                  <a:gd name="connsiteY23" fmla="*/ 12835 h 65548"/>
                  <a:gd name="connsiteX24" fmla="*/ 25859 w 67361"/>
                  <a:gd name="connsiteY24" fmla="*/ 14375 h 65548"/>
                  <a:gd name="connsiteX25" fmla="*/ 19886 w 67361"/>
                  <a:gd name="connsiteY25" fmla="*/ 18630 h 65548"/>
                  <a:gd name="connsiteX26" fmla="*/ 15987 w 67361"/>
                  <a:gd name="connsiteY26" fmla="*/ 24923 h 65548"/>
                  <a:gd name="connsiteX27" fmla="*/ 14589 w 67361"/>
                  <a:gd name="connsiteY27" fmla="*/ 32579 h 65548"/>
                  <a:gd name="connsiteX28" fmla="*/ 14589 w 67361"/>
                  <a:gd name="connsiteY28" fmla="*/ 32756 h 65548"/>
                  <a:gd name="connsiteX29" fmla="*/ 15987 w 67361"/>
                  <a:gd name="connsiteY29" fmla="*/ 40448 h 65548"/>
                  <a:gd name="connsiteX30" fmla="*/ 19969 w 67361"/>
                  <a:gd name="connsiteY30" fmla="*/ 46788 h 65548"/>
                  <a:gd name="connsiteX31" fmla="*/ 26037 w 67361"/>
                  <a:gd name="connsiteY31" fmla="*/ 51090 h 65548"/>
                  <a:gd name="connsiteX32" fmla="*/ 33776 w 67361"/>
                  <a:gd name="connsiteY32" fmla="*/ 52678 h 65548"/>
                  <a:gd name="connsiteX33" fmla="*/ 41467 w 67361"/>
                  <a:gd name="connsiteY33" fmla="*/ 51138 h 65548"/>
                  <a:gd name="connsiteX34" fmla="*/ 47487 w 67361"/>
                  <a:gd name="connsiteY34" fmla="*/ 46883 h 65548"/>
                  <a:gd name="connsiteX35" fmla="*/ 51387 w 67361"/>
                  <a:gd name="connsiteY35" fmla="*/ 40590 h 65548"/>
                  <a:gd name="connsiteX36" fmla="*/ 52785 w 67361"/>
                  <a:gd name="connsiteY36" fmla="*/ 32934 h 65548"/>
                  <a:gd name="connsiteX37" fmla="*/ 52785 w 67361"/>
                  <a:gd name="connsiteY37" fmla="*/ 32756 h 65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7361" h="65548">
                    <a:moveTo>
                      <a:pt x="64826" y="45485"/>
                    </a:moveTo>
                    <a:cubicBezTo>
                      <a:pt x="63131" y="49443"/>
                      <a:pt x="60796" y="52903"/>
                      <a:pt x="57810" y="55902"/>
                    </a:cubicBezTo>
                    <a:cubicBezTo>
                      <a:pt x="54823" y="58900"/>
                      <a:pt x="51256" y="61247"/>
                      <a:pt x="47120" y="62965"/>
                    </a:cubicBezTo>
                    <a:cubicBezTo>
                      <a:pt x="42984" y="64683"/>
                      <a:pt x="38469" y="65548"/>
                      <a:pt x="33586" y="65548"/>
                    </a:cubicBezTo>
                    <a:cubicBezTo>
                      <a:pt x="28703" y="65548"/>
                      <a:pt x="24200" y="64683"/>
                      <a:pt x="20100" y="62965"/>
                    </a:cubicBezTo>
                    <a:cubicBezTo>
                      <a:pt x="15999" y="61247"/>
                      <a:pt x="12444" y="58924"/>
                      <a:pt x="9457" y="55996"/>
                    </a:cubicBezTo>
                    <a:cubicBezTo>
                      <a:pt x="6471" y="53069"/>
                      <a:pt x="4148" y="49632"/>
                      <a:pt x="2489" y="45674"/>
                    </a:cubicBezTo>
                    <a:cubicBezTo>
                      <a:pt x="830" y="41716"/>
                      <a:pt x="0" y="37485"/>
                      <a:pt x="0" y="32958"/>
                    </a:cubicBezTo>
                    <a:lnTo>
                      <a:pt x="0" y="32780"/>
                    </a:lnTo>
                    <a:cubicBezTo>
                      <a:pt x="0" y="28253"/>
                      <a:pt x="841" y="24010"/>
                      <a:pt x="2536" y="20064"/>
                    </a:cubicBezTo>
                    <a:cubicBezTo>
                      <a:pt x="4231" y="16118"/>
                      <a:pt x="6566" y="12645"/>
                      <a:pt x="9552" y="9647"/>
                    </a:cubicBezTo>
                    <a:cubicBezTo>
                      <a:pt x="12539" y="6660"/>
                      <a:pt x="16106" y="4302"/>
                      <a:pt x="20242" y="2584"/>
                    </a:cubicBezTo>
                    <a:cubicBezTo>
                      <a:pt x="24378" y="865"/>
                      <a:pt x="28893" y="0"/>
                      <a:pt x="33776" y="0"/>
                    </a:cubicBezTo>
                    <a:cubicBezTo>
                      <a:pt x="38658" y="0"/>
                      <a:pt x="43162" y="865"/>
                      <a:pt x="47262" y="2584"/>
                    </a:cubicBezTo>
                    <a:cubicBezTo>
                      <a:pt x="51363" y="4302"/>
                      <a:pt x="54918" y="6625"/>
                      <a:pt x="57905" y="9552"/>
                    </a:cubicBezTo>
                    <a:cubicBezTo>
                      <a:pt x="60891" y="12479"/>
                      <a:pt x="63214" y="15916"/>
                      <a:pt x="64873" y="19874"/>
                    </a:cubicBezTo>
                    <a:cubicBezTo>
                      <a:pt x="66532" y="23833"/>
                      <a:pt x="67362" y="28063"/>
                      <a:pt x="67362" y="32591"/>
                    </a:cubicBezTo>
                    <a:lnTo>
                      <a:pt x="67362" y="32768"/>
                    </a:lnTo>
                    <a:cubicBezTo>
                      <a:pt x="67362" y="37295"/>
                      <a:pt x="66520" y="41538"/>
                      <a:pt x="64826" y="45496"/>
                    </a:cubicBezTo>
                    <a:close/>
                    <a:moveTo>
                      <a:pt x="52785" y="32756"/>
                    </a:moveTo>
                    <a:cubicBezTo>
                      <a:pt x="52785" y="30043"/>
                      <a:pt x="52323" y="27471"/>
                      <a:pt x="51387" y="25065"/>
                    </a:cubicBezTo>
                    <a:cubicBezTo>
                      <a:pt x="50450" y="22647"/>
                      <a:pt x="49123" y="20538"/>
                      <a:pt x="47405" y="18725"/>
                    </a:cubicBezTo>
                    <a:cubicBezTo>
                      <a:pt x="45686" y="16912"/>
                      <a:pt x="43648" y="15478"/>
                      <a:pt x="41289" y="14423"/>
                    </a:cubicBezTo>
                    <a:cubicBezTo>
                      <a:pt x="38931" y="13368"/>
                      <a:pt x="36371" y="12835"/>
                      <a:pt x="33598" y="12835"/>
                    </a:cubicBezTo>
                    <a:cubicBezTo>
                      <a:pt x="30825" y="12835"/>
                      <a:pt x="28182" y="13344"/>
                      <a:pt x="25859" y="14375"/>
                    </a:cubicBezTo>
                    <a:cubicBezTo>
                      <a:pt x="23536" y="15406"/>
                      <a:pt x="21545" y="16817"/>
                      <a:pt x="19886" y="18630"/>
                    </a:cubicBezTo>
                    <a:cubicBezTo>
                      <a:pt x="18227" y="20443"/>
                      <a:pt x="16923" y="22541"/>
                      <a:pt x="15987" y="24923"/>
                    </a:cubicBezTo>
                    <a:cubicBezTo>
                      <a:pt x="15051" y="27305"/>
                      <a:pt x="14589" y="29853"/>
                      <a:pt x="14589" y="32579"/>
                    </a:cubicBezTo>
                    <a:lnTo>
                      <a:pt x="14589" y="32756"/>
                    </a:lnTo>
                    <a:cubicBezTo>
                      <a:pt x="14589" y="35470"/>
                      <a:pt x="15051" y="38042"/>
                      <a:pt x="15987" y="40448"/>
                    </a:cubicBezTo>
                    <a:cubicBezTo>
                      <a:pt x="16923" y="42865"/>
                      <a:pt x="18251" y="44975"/>
                      <a:pt x="19969" y="46788"/>
                    </a:cubicBezTo>
                    <a:cubicBezTo>
                      <a:pt x="21688" y="48601"/>
                      <a:pt x="23714" y="50035"/>
                      <a:pt x="26037" y="51090"/>
                    </a:cubicBezTo>
                    <a:cubicBezTo>
                      <a:pt x="28360" y="52145"/>
                      <a:pt x="30943" y="52678"/>
                      <a:pt x="33776" y="52678"/>
                    </a:cubicBezTo>
                    <a:cubicBezTo>
                      <a:pt x="36608" y="52678"/>
                      <a:pt x="39121" y="52169"/>
                      <a:pt x="41467" y="51138"/>
                    </a:cubicBezTo>
                    <a:cubicBezTo>
                      <a:pt x="43825" y="50106"/>
                      <a:pt x="45828" y="48696"/>
                      <a:pt x="47487" y="46883"/>
                    </a:cubicBezTo>
                    <a:cubicBezTo>
                      <a:pt x="49147" y="45070"/>
                      <a:pt x="50450" y="42972"/>
                      <a:pt x="51387" y="40590"/>
                    </a:cubicBezTo>
                    <a:cubicBezTo>
                      <a:pt x="52323" y="38208"/>
                      <a:pt x="52785" y="35660"/>
                      <a:pt x="52785" y="32934"/>
                    </a:cubicBezTo>
                    <a:lnTo>
                      <a:pt x="52785" y="32756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78E4683A-D662-4290-D908-79855495886A}"/>
                  </a:ext>
                </a:extLst>
              </p:cNvPr>
              <p:cNvSpPr/>
              <p:nvPr/>
            </p:nvSpPr>
            <p:spPr>
              <a:xfrm>
                <a:off x="1692871" y="6591709"/>
                <a:ext cx="63379" cy="63391"/>
              </a:xfrm>
              <a:custGeom>
                <a:avLst/>
                <a:gdLst>
                  <a:gd name="connsiteX0" fmla="*/ 49621 w 63379"/>
                  <a:gd name="connsiteY0" fmla="*/ 63392 h 63391"/>
                  <a:gd name="connsiteX1" fmla="*/ 49621 w 63379"/>
                  <a:gd name="connsiteY1" fmla="*/ 22008 h 63391"/>
                  <a:gd name="connsiteX2" fmla="*/ 31785 w 63379"/>
                  <a:gd name="connsiteY2" fmla="*/ 49075 h 63391"/>
                  <a:gd name="connsiteX3" fmla="*/ 31417 w 63379"/>
                  <a:gd name="connsiteY3" fmla="*/ 49075 h 63391"/>
                  <a:gd name="connsiteX4" fmla="*/ 13759 w 63379"/>
                  <a:gd name="connsiteY4" fmla="*/ 22268 h 63391"/>
                  <a:gd name="connsiteX5" fmla="*/ 13759 w 63379"/>
                  <a:gd name="connsiteY5" fmla="*/ 63380 h 63391"/>
                  <a:gd name="connsiteX6" fmla="*/ 0 w 63379"/>
                  <a:gd name="connsiteY6" fmla="*/ 63380 h 63391"/>
                  <a:gd name="connsiteX7" fmla="*/ 0 w 63379"/>
                  <a:gd name="connsiteY7" fmla="*/ 0 h 63391"/>
                  <a:gd name="connsiteX8" fmla="*/ 15027 w 63379"/>
                  <a:gd name="connsiteY8" fmla="*/ 0 h 63391"/>
                  <a:gd name="connsiteX9" fmla="*/ 31690 w 63379"/>
                  <a:gd name="connsiteY9" fmla="*/ 26807 h 63391"/>
                  <a:gd name="connsiteX10" fmla="*/ 48353 w 63379"/>
                  <a:gd name="connsiteY10" fmla="*/ 0 h 63391"/>
                  <a:gd name="connsiteX11" fmla="*/ 63380 w 63379"/>
                  <a:gd name="connsiteY11" fmla="*/ 0 h 63391"/>
                  <a:gd name="connsiteX12" fmla="*/ 63380 w 63379"/>
                  <a:gd name="connsiteY12" fmla="*/ 63380 h 63391"/>
                  <a:gd name="connsiteX13" fmla="*/ 49621 w 63379"/>
                  <a:gd name="connsiteY13" fmla="*/ 63380 h 63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3379" h="63391">
                    <a:moveTo>
                      <a:pt x="49621" y="63392"/>
                    </a:moveTo>
                    <a:lnTo>
                      <a:pt x="49621" y="22008"/>
                    </a:lnTo>
                    <a:lnTo>
                      <a:pt x="31785" y="49075"/>
                    </a:lnTo>
                    <a:lnTo>
                      <a:pt x="31417" y="49075"/>
                    </a:lnTo>
                    <a:lnTo>
                      <a:pt x="13759" y="22268"/>
                    </a:lnTo>
                    <a:lnTo>
                      <a:pt x="13759" y="63380"/>
                    </a:lnTo>
                    <a:lnTo>
                      <a:pt x="0" y="63380"/>
                    </a:lnTo>
                    <a:lnTo>
                      <a:pt x="0" y="0"/>
                    </a:lnTo>
                    <a:lnTo>
                      <a:pt x="15027" y="0"/>
                    </a:lnTo>
                    <a:lnTo>
                      <a:pt x="31690" y="26807"/>
                    </a:lnTo>
                    <a:lnTo>
                      <a:pt x="48353" y="0"/>
                    </a:lnTo>
                    <a:lnTo>
                      <a:pt x="63380" y="0"/>
                    </a:lnTo>
                    <a:lnTo>
                      <a:pt x="63380" y="63380"/>
                    </a:lnTo>
                    <a:lnTo>
                      <a:pt x="49621" y="63380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A1F9616A-3A89-2687-5759-2F8EE7D8381E}"/>
                  </a:ext>
                </a:extLst>
              </p:cNvPr>
              <p:cNvSpPr/>
              <p:nvPr/>
            </p:nvSpPr>
            <p:spPr>
              <a:xfrm>
                <a:off x="1768671" y="6590654"/>
                <a:ext cx="67361" cy="65548"/>
              </a:xfrm>
              <a:custGeom>
                <a:avLst/>
                <a:gdLst>
                  <a:gd name="connsiteX0" fmla="*/ 64826 w 67361"/>
                  <a:gd name="connsiteY0" fmla="*/ 45485 h 65548"/>
                  <a:gd name="connsiteX1" fmla="*/ 57810 w 67361"/>
                  <a:gd name="connsiteY1" fmla="*/ 55902 h 65548"/>
                  <a:gd name="connsiteX2" fmla="*/ 47120 w 67361"/>
                  <a:gd name="connsiteY2" fmla="*/ 62965 h 65548"/>
                  <a:gd name="connsiteX3" fmla="*/ 33586 w 67361"/>
                  <a:gd name="connsiteY3" fmla="*/ 65548 h 65548"/>
                  <a:gd name="connsiteX4" fmla="*/ 20100 w 67361"/>
                  <a:gd name="connsiteY4" fmla="*/ 62965 h 65548"/>
                  <a:gd name="connsiteX5" fmla="*/ 9457 w 67361"/>
                  <a:gd name="connsiteY5" fmla="*/ 55996 h 65548"/>
                  <a:gd name="connsiteX6" fmla="*/ 2489 w 67361"/>
                  <a:gd name="connsiteY6" fmla="*/ 45674 h 65548"/>
                  <a:gd name="connsiteX7" fmla="*/ 0 w 67361"/>
                  <a:gd name="connsiteY7" fmla="*/ 32958 h 65548"/>
                  <a:gd name="connsiteX8" fmla="*/ 0 w 67361"/>
                  <a:gd name="connsiteY8" fmla="*/ 32780 h 65548"/>
                  <a:gd name="connsiteX9" fmla="*/ 2536 w 67361"/>
                  <a:gd name="connsiteY9" fmla="*/ 20064 h 65548"/>
                  <a:gd name="connsiteX10" fmla="*/ 9552 w 67361"/>
                  <a:gd name="connsiteY10" fmla="*/ 9647 h 65548"/>
                  <a:gd name="connsiteX11" fmla="*/ 20242 w 67361"/>
                  <a:gd name="connsiteY11" fmla="*/ 2584 h 65548"/>
                  <a:gd name="connsiteX12" fmla="*/ 33776 w 67361"/>
                  <a:gd name="connsiteY12" fmla="*/ 0 h 65548"/>
                  <a:gd name="connsiteX13" fmla="*/ 47262 w 67361"/>
                  <a:gd name="connsiteY13" fmla="*/ 2584 h 65548"/>
                  <a:gd name="connsiteX14" fmla="*/ 57905 w 67361"/>
                  <a:gd name="connsiteY14" fmla="*/ 9552 h 65548"/>
                  <a:gd name="connsiteX15" fmla="*/ 64873 w 67361"/>
                  <a:gd name="connsiteY15" fmla="*/ 19874 h 65548"/>
                  <a:gd name="connsiteX16" fmla="*/ 67362 w 67361"/>
                  <a:gd name="connsiteY16" fmla="*/ 32591 h 65548"/>
                  <a:gd name="connsiteX17" fmla="*/ 67362 w 67361"/>
                  <a:gd name="connsiteY17" fmla="*/ 32768 h 65548"/>
                  <a:gd name="connsiteX18" fmla="*/ 64826 w 67361"/>
                  <a:gd name="connsiteY18" fmla="*/ 45496 h 65548"/>
                  <a:gd name="connsiteX19" fmla="*/ 52785 w 67361"/>
                  <a:gd name="connsiteY19" fmla="*/ 32756 h 65548"/>
                  <a:gd name="connsiteX20" fmla="*/ 51387 w 67361"/>
                  <a:gd name="connsiteY20" fmla="*/ 25065 h 65548"/>
                  <a:gd name="connsiteX21" fmla="*/ 47405 w 67361"/>
                  <a:gd name="connsiteY21" fmla="*/ 18725 h 65548"/>
                  <a:gd name="connsiteX22" fmla="*/ 41289 w 67361"/>
                  <a:gd name="connsiteY22" fmla="*/ 14423 h 65548"/>
                  <a:gd name="connsiteX23" fmla="*/ 33598 w 67361"/>
                  <a:gd name="connsiteY23" fmla="*/ 12835 h 65548"/>
                  <a:gd name="connsiteX24" fmla="*/ 25859 w 67361"/>
                  <a:gd name="connsiteY24" fmla="*/ 14375 h 65548"/>
                  <a:gd name="connsiteX25" fmla="*/ 19886 w 67361"/>
                  <a:gd name="connsiteY25" fmla="*/ 18630 h 65548"/>
                  <a:gd name="connsiteX26" fmla="*/ 15987 w 67361"/>
                  <a:gd name="connsiteY26" fmla="*/ 24923 h 65548"/>
                  <a:gd name="connsiteX27" fmla="*/ 14589 w 67361"/>
                  <a:gd name="connsiteY27" fmla="*/ 32579 h 65548"/>
                  <a:gd name="connsiteX28" fmla="*/ 14589 w 67361"/>
                  <a:gd name="connsiteY28" fmla="*/ 32756 h 65548"/>
                  <a:gd name="connsiteX29" fmla="*/ 15987 w 67361"/>
                  <a:gd name="connsiteY29" fmla="*/ 40448 h 65548"/>
                  <a:gd name="connsiteX30" fmla="*/ 19969 w 67361"/>
                  <a:gd name="connsiteY30" fmla="*/ 46788 h 65548"/>
                  <a:gd name="connsiteX31" fmla="*/ 26037 w 67361"/>
                  <a:gd name="connsiteY31" fmla="*/ 51090 h 65548"/>
                  <a:gd name="connsiteX32" fmla="*/ 33776 w 67361"/>
                  <a:gd name="connsiteY32" fmla="*/ 52678 h 65548"/>
                  <a:gd name="connsiteX33" fmla="*/ 41467 w 67361"/>
                  <a:gd name="connsiteY33" fmla="*/ 51138 h 65548"/>
                  <a:gd name="connsiteX34" fmla="*/ 47488 w 67361"/>
                  <a:gd name="connsiteY34" fmla="*/ 46883 h 65548"/>
                  <a:gd name="connsiteX35" fmla="*/ 51387 w 67361"/>
                  <a:gd name="connsiteY35" fmla="*/ 40590 h 65548"/>
                  <a:gd name="connsiteX36" fmla="*/ 52785 w 67361"/>
                  <a:gd name="connsiteY36" fmla="*/ 32934 h 65548"/>
                  <a:gd name="connsiteX37" fmla="*/ 52785 w 67361"/>
                  <a:gd name="connsiteY37" fmla="*/ 32756 h 65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7361" h="65548">
                    <a:moveTo>
                      <a:pt x="64826" y="45485"/>
                    </a:moveTo>
                    <a:cubicBezTo>
                      <a:pt x="63131" y="49443"/>
                      <a:pt x="60796" y="52903"/>
                      <a:pt x="57810" y="55902"/>
                    </a:cubicBezTo>
                    <a:cubicBezTo>
                      <a:pt x="54823" y="58900"/>
                      <a:pt x="51256" y="61247"/>
                      <a:pt x="47120" y="62965"/>
                    </a:cubicBezTo>
                    <a:cubicBezTo>
                      <a:pt x="42984" y="64683"/>
                      <a:pt x="38469" y="65548"/>
                      <a:pt x="33586" y="65548"/>
                    </a:cubicBezTo>
                    <a:cubicBezTo>
                      <a:pt x="28703" y="65548"/>
                      <a:pt x="24200" y="64683"/>
                      <a:pt x="20100" y="62965"/>
                    </a:cubicBezTo>
                    <a:cubicBezTo>
                      <a:pt x="15999" y="61247"/>
                      <a:pt x="12444" y="58924"/>
                      <a:pt x="9457" y="55996"/>
                    </a:cubicBezTo>
                    <a:cubicBezTo>
                      <a:pt x="6471" y="53069"/>
                      <a:pt x="4148" y="49632"/>
                      <a:pt x="2489" y="45674"/>
                    </a:cubicBezTo>
                    <a:cubicBezTo>
                      <a:pt x="830" y="41716"/>
                      <a:pt x="0" y="37485"/>
                      <a:pt x="0" y="32958"/>
                    </a:cubicBezTo>
                    <a:lnTo>
                      <a:pt x="0" y="32780"/>
                    </a:lnTo>
                    <a:cubicBezTo>
                      <a:pt x="0" y="28253"/>
                      <a:pt x="841" y="24010"/>
                      <a:pt x="2536" y="20064"/>
                    </a:cubicBezTo>
                    <a:cubicBezTo>
                      <a:pt x="4231" y="16118"/>
                      <a:pt x="6566" y="12645"/>
                      <a:pt x="9552" y="9647"/>
                    </a:cubicBezTo>
                    <a:cubicBezTo>
                      <a:pt x="12539" y="6660"/>
                      <a:pt x="16106" y="4302"/>
                      <a:pt x="20242" y="2584"/>
                    </a:cubicBezTo>
                    <a:cubicBezTo>
                      <a:pt x="24378" y="865"/>
                      <a:pt x="28893" y="0"/>
                      <a:pt x="33776" y="0"/>
                    </a:cubicBezTo>
                    <a:cubicBezTo>
                      <a:pt x="38658" y="0"/>
                      <a:pt x="43162" y="865"/>
                      <a:pt x="47262" y="2584"/>
                    </a:cubicBezTo>
                    <a:cubicBezTo>
                      <a:pt x="51363" y="4302"/>
                      <a:pt x="54918" y="6625"/>
                      <a:pt x="57905" y="9552"/>
                    </a:cubicBezTo>
                    <a:cubicBezTo>
                      <a:pt x="60891" y="12479"/>
                      <a:pt x="63214" y="15916"/>
                      <a:pt x="64873" y="19874"/>
                    </a:cubicBezTo>
                    <a:cubicBezTo>
                      <a:pt x="66532" y="23833"/>
                      <a:pt x="67362" y="28063"/>
                      <a:pt x="67362" y="32591"/>
                    </a:cubicBezTo>
                    <a:lnTo>
                      <a:pt x="67362" y="32768"/>
                    </a:lnTo>
                    <a:cubicBezTo>
                      <a:pt x="67362" y="37295"/>
                      <a:pt x="66520" y="41538"/>
                      <a:pt x="64826" y="45496"/>
                    </a:cubicBezTo>
                    <a:close/>
                    <a:moveTo>
                      <a:pt x="52785" y="32756"/>
                    </a:moveTo>
                    <a:cubicBezTo>
                      <a:pt x="52785" y="30043"/>
                      <a:pt x="52323" y="27471"/>
                      <a:pt x="51387" y="25065"/>
                    </a:cubicBezTo>
                    <a:cubicBezTo>
                      <a:pt x="50450" y="22647"/>
                      <a:pt x="49123" y="20538"/>
                      <a:pt x="47405" y="18725"/>
                    </a:cubicBezTo>
                    <a:cubicBezTo>
                      <a:pt x="45686" y="16912"/>
                      <a:pt x="43648" y="15478"/>
                      <a:pt x="41289" y="14423"/>
                    </a:cubicBezTo>
                    <a:cubicBezTo>
                      <a:pt x="38931" y="13368"/>
                      <a:pt x="36371" y="12835"/>
                      <a:pt x="33598" y="12835"/>
                    </a:cubicBezTo>
                    <a:cubicBezTo>
                      <a:pt x="30825" y="12835"/>
                      <a:pt x="28182" y="13344"/>
                      <a:pt x="25859" y="14375"/>
                    </a:cubicBezTo>
                    <a:cubicBezTo>
                      <a:pt x="23536" y="15406"/>
                      <a:pt x="21545" y="16817"/>
                      <a:pt x="19886" y="18630"/>
                    </a:cubicBezTo>
                    <a:cubicBezTo>
                      <a:pt x="18227" y="20443"/>
                      <a:pt x="16923" y="22541"/>
                      <a:pt x="15987" y="24923"/>
                    </a:cubicBezTo>
                    <a:cubicBezTo>
                      <a:pt x="15051" y="27305"/>
                      <a:pt x="14589" y="29853"/>
                      <a:pt x="14589" y="32579"/>
                    </a:cubicBezTo>
                    <a:lnTo>
                      <a:pt x="14589" y="32756"/>
                    </a:lnTo>
                    <a:cubicBezTo>
                      <a:pt x="14589" y="35470"/>
                      <a:pt x="15051" y="38042"/>
                      <a:pt x="15987" y="40448"/>
                    </a:cubicBezTo>
                    <a:cubicBezTo>
                      <a:pt x="16923" y="42865"/>
                      <a:pt x="18251" y="44975"/>
                      <a:pt x="19969" y="46788"/>
                    </a:cubicBezTo>
                    <a:cubicBezTo>
                      <a:pt x="21688" y="48601"/>
                      <a:pt x="23714" y="50035"/>
                      <a:pt x="26037" y="51090"/>
                    </a:cubicBezTo>
                    <a:cubicBezTo>
                      <a:pt x="28360" y="52145"/>
                      <a:pt x="30943" y="52678"/>
                      <a:pt x="33776" y="52678"/>
                    </a:cubicBezTo>
                    <a:cubicBezTo>
                      <a:pt x="36608" y="52678"/>
                      <a:pt x="39121" y="52169"/>
                      <a:pt x="41467" y="51138"/>
                    </a:cubicBezTo>
                    <a:cubicBezTo>
                      <a:pt x="43826" y="50106"/>
                      <a:pt x="45828" y="48696"/>
                      <a:pt x="47488" y="46883"/>
                    </a:cubicBezTo>
                    <a:cubicBezTo>
                      <a:pt x="49147" y="45070"/>
                      <a:pt x="50450" y="42972"/>
                      <a:pt x="51387" y="40590"/>
                    </a:cubicBezTo>
                    <a:cubicBezTo>
                      <a:pt x="52323" y="38208"/>
                      <a:pt x="52785" y="35660"/>
                      <a:pt x="52785" y="32934"/>
                    </a:cubicBezTo>
                    <a:lnTo>
                      <a:pt x="52785" y="32756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AFF6907E-2FEF-A4FC-C034-325104EEFC44}"/>
                  </a:ext>
                </a:extLst>
              </p:cNvPr>
              <p:cNvSpPr/>
              <p:nvPr/>
            </p:nvSpPr>
            <p:spPr>
              <a:xfrm>
                <a:off x="1976552" y="6590654"/>
                <a:ext cx="67361" cy="65548"/>
              </a:xfrm>
              <a:custGeom>
                <a:avLst/>
                <a:gdLst>
                  <a:gd name="connsiteX0" fmla="*/ 64826 w 67361"/>
                  <a:gd name="connsiteY0" fmla="*/ 45485 h 65548"/>
                  <a:gd name="connsiteX1" fmla="*/ 57810 w 67361"/>
                  <a:gd name="connsiteY1" fmla="*/ 55902 h 65548"/>
                  <a:gd name="connsiteX2" fmla="*/ 47120 w 67361"/>
                  <a:gd name="connsiteY2" fmla="*/ 62965 h 65548"/>
                  <a:gd name="connsiteX3" fmla="*/ 33586 w 67361"/>
                  <a:gd name="connsiteY3" fmla="*/ 65548 h 65548"/>
                  <a:gd name="connsiteX4" fmla="*/ 20099 w 67361"/>
                  <a:gd name="connsiteY4" fmla="*/ 62965 h 65548"/>
                  <a:gd name="connsiteX5" fmla="*/ 9457 w 67361"/>
                  <a:gd name="connsiteY5" fmla="*/ 55996 h 65548"/>
                  <a:gd name="connsiteX6" fmla="*/ 2489 w 67361"/>
                  <a:gd name="connsiteY6" fmla="*/ 45674 h 65548"/>
                  <a:gd name="connsiteX7" fmla="*/ 0 w 67361"/>
                  <a:gd name="connsiteY7" fmla="*/ 32958 h 65548"/>
                  <a:gd name="connsiteX8" fmla="*/ 0 w 67361"/>
                  <a:gd name="connsiteY8" fmla="*/ 32780 h 65548"/>
                  <a:gd name="connsiteX9" fmla="*/ 2536 w 67361"/>
                  <a:gd name="connsiteY9" fmla="*/ 20064 h 65548"/>
                  <a:gd name="connsiteX10" fmla="*/ 9552 w 67361"/>
                  <a:gd name="connsiteY10" fmla="*/ 9647 h 65548"/>
                  <a:gd name="connsiteX11" fmla="*/ 20242 w 67361"/>
                  <a:gd name="connsiteY11" fmla="*/ 2584 h 65548"/>
                  <a:gd name="connsiteX12" fmla="*/ 33776 w 67361"/>
                  <a:gd name="connsiteY12" fmla="*/ 0 h 65548"/>
                  <a:gd name="connsiteX13" fmla="*/ 47262 w 67361"/>
                  <a:gd name="connsiteY13" fmla="*/ 2584 h 65548"/>
                  <a:gd name="connsiteX14" fmla="*/ 57905 w 67361"/>
                  <a:gd name="connsiteY14" fmla="*/ 9552 h 65548"/>
                  <a:gd name="connsiteX15" fmla="*/ 64873 w 67361"/>
                  <a:gd name="connsiteY15" fmla="*/ 19874 h 65548"/>
                  <a:gd name="connsiteX16" fmla="*/ 67362 w 67361"/>
                  <a:gd name="connsiteY16" fmla="*/ 32591 h 65548"/>
                  <a:gd name="connsiteX17" fmla="*/ 67362 w 67361"/>
                  <a:gd name="connsiteY17" fmla="*/ 32768 h 65548"/>
                  <a:gd name="connsiteX18" fmla="*/ 64826 w 67361"/>
                  <a:gd name="connsiteY18" fmla="*/ 45496 h 65548"/>
                  <a:gd name="connsiteX19" fmla="*/ 52785 w 67361"/>
                  <a:gd name="connsiteY19" fmla="*/ 32756 h 65548"/>
                  <a:gd name="connsiteX20" fmla="*/ 51387 w 67361"/>
                  <a:gd name="connsiteY20" fmla="*/ 25065 h 65548"/>
                  <a:gd name="connsiteX21" fmla="*/ 47405 w 67361"/>
                  <a:gd name="connsiteY21" fmla="*/ 18725 h 65548"/>
                  <a:gd name="connsiteX22" fmla="*/ 41289 w 67361"/>
                  <a:gd name="connsiteY22" fmla="*/ 14423 h 65548"/>
                  <a:gd name="connsiteX23" fmla="*/ 33598 w 67361"/>
                  <a:gd name="connsiteY23" fmla="*/ 12835 h 65548"/>
                  <a:gd name="connsiteX24" fmla="*/ 25859 w 67361"/>
                  <a:gd name="connsiteY24" fmla="*/ 14375 h 65548"/>
                  <a:gd name="connsiteX25" fmla="*/ 19886 w 67361"/>
                  <a:gd name="connsiteY25" fmla="*/ 18630 h 65548"/>
                  <a:gd name="connsiteX26" fmla="*/ 15987 w 67361"/>
                  <a:gd name="connsiteY26" fmla="*/ 24923 h 65548"/>
                  <a:gd name="connsiteX27" fmla="*/ 14589 w 67361"/>
                  <a:gd name="connsiteY27" fmla="*/ 32579 h 65548"/>
                  <a:gd name="connsiteX28" fmla="*/ 14589 w 67361"/>
                  <a:gd name="connsiteY28" fmla="*/ 32756 h 65548"/>
                  <a:gd name="connsiteX29" fmla="*/ 15987 w 67361"/>
                  <a:gd name="connsiteY29" fmla="*/ 40448 h 65548"/>
                  <a:gd name="connsiteX30" fmla="*/ 19969 w 67361"/>
                  <a:gd name="connsiteY30" fmla="*/ 46788 h 65548"/>
                  <a:gd name="connsiteX31" fmla="*/ 26037 w 67361"/>
                  <a:gd name="connsiteY31" fmla="*/ 51090 h 65548"/>
                  <a:gd name="connsiteX32" fmla="*/ 33776 w 67361"/>
                  <a:gd name="connsiteY32" fmla="*/ 52678 h 65548"/>
                  <a:gd name="connsiteX33" fmla="*/ 41467 w 67361"/>
                  <a:gd name="connsiteY33" fmla="*/ 51138 h 65548"/>
                  <a:gd name="connsiteX34" fmla="*/ 47487 w 67361"/>
                  <a:gd name="connsiteY34" fmla="*/ 46883 h 65548"/>
                  <a:gd name="connsiteX35" fmla="*/ 51387 w 67361"/>
                  <a:gd name="connsiteY35" fmla="*/ 40590 h 65548"/>
                  <a:gd name="connsiteX36" fmla="*/ 52785 w 67361"/>
                  <a:gd name="connsiteY36" fmla="*/ 32934 h 65548"/>
                  <a:gd name="connsiteX37" fmla="*/ 52785 w 67361"/>
                  <a:gd name="connsiteY37" fmla="*/ 32756 h 65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7361" h="65548">
                    <a:moveTo>
                      <a:pt x="64826" y="45485"/>
                    </a:moveTo>
                    <a:cubicBezTo>
                      <a:pt x="63131" y="49443"/>
                      <a:pt x="60796" y="52903"/>
                      <a:pt x="57810" y="55902"/>
                    </a:cubicBezTo>
                    <a:cubicBezTo>
                      <a:pt x="54823" y="58900"/>
                      <a:pt x="51256" y="61247"/>
                      <a:pt x="47120" y="62965"/>
                    </a:cubicBezTo>
                    <a:cubicBezTo>
                      <a:pt x="42984" y="64683"/>
                      <a:pt x="38469" y="65548"/>
                      <a:pt x="33586" y="65548"/>
                    </a:cubicBezTo>
                    <a:cubicBezTo>
                      <a:pt x="28703" y="65548"/>
                      <a:pt x="24200" y="64683"/>
                      <a:pt x="20099" y="62965"/>
                    </a:cubicBezTo>
                    <a:cubicBezTo>
                      <a:pt x="15999" y="61247"/>
                      <a:pt x="12444" y="58924"/>
                      <a:pt x="9457" y="55996"/>
                    </a:cubicBezTo>
                    <a:cubicBezTo>
                      <a:pt x="6471" y="53069"/>
                      <a:pt x="4148" y="49632"/>
                      <a:pt x="2489" y="45674"/>
                    </a:cubicBezTo>
                    <a:cubicBezTo>
                      <a:pt x="830" y="41716"/>
                      <a:pt x="0" y="37485"/>
                      <a:pt x="0" y="32958"/>
                    </a:cubicBezTo>
                    <a:lnTo>
                      <a:pt x="0" y="32780"/>
                    </a:lnTo>
                    <a:cubicBezTo>
                      <a:pt x="0" y="28253"/>
                      <a:pt x="841" y="24010"/>
                      <a:pt x="2536" y="20064"/>
                    </a:cubicBezTo>
                    <a:cubicBezTo>
                      <a:pt x="4231" y="16118"/>
                      <a:pt x="6566" y="12645"/>
                      <a:pt x="9552" y="9647"/>
                    </a:cubicBezTo>
                    <a:cubicBezTo>
                      <a:pt x="12538" y="6660"/>
                      <a:pt x="16106" y="4302"/>
                      <a:pt x="20242" y="2584"/>
                    </a:cubicBezTo>
                    <a:cubicBezTo>
                      <a:pt x="24378" y="865"/>
                      <a:pt x="28893" y="0"/>
                      <a:pt x="33776" y="0"/>
                    </a:cubicBezTo>
                    <a:cubicBezTo>
                      <a:pt x="38658" y="0"/>
                      <a:pt x="43162" y="865"/>
                      <a:pt x="47262" y="2584"/>
                    </a:cubicBezTo>
                    <a:cubicBezTo>
                      <a:pt x="51363" y="4302"/>
                      <a:pt x="54918" y="6625"/>
                      <a:pt x="57905" y="9552"/>
                    </a:cubicBezTo>
                    <a:cubicBezTo>
                      <a:pt x="60891" y="12479"/>
                      <a:pt x="63214" y="15916"/>
                      <a:pt x="64873" y="19874"/>
                    </a:cubicBezTo>
                    <a:cubicBezTo>
                      <a:pt x="66532" y="23833"/>
                      <a:pt x="67362" y="28063"/>
                      <a:pt x="67362" y="32591"/>
                    </a:cubicBezTo>
                    <a:lnTo>
                      <a:pt x="67362" y="32768"/>
                    </a:lnTo>
                    <a:cubicBezTo>
                      <a:pt x="67362" y="37295"/>
                      <a:pt x="66520" y="41538"/>
                      <a:pt x="64826" y="45496"/>
                    </a:cubicBezTo>
                    <a:close/>
                    <a:moveTo>
                      <a:pt x="52785" y="32756"/>
                    </a:moveTo>
                    <a:cubicBezTo>
                      <a:pt x="52785" y="30043"/>
                      <a:pt x="52323" y="27471"/>
                      <a:pt x="51387" y="25065"/>
                    </a:cubicBezTo>
                    <a:cubicBezTo>
                      <a:pt x="50450" y="22647"/>
                      <a:pt x="49123" y="20538"/>
                      <a:pt x="47405" y="18725"/>
                    </a:cubicBezTo>
                    <a:cubicBezTo>
                      <a:pt x="45686" y="16912"/>
                      <a:pt x="43648" y="15478"/>
                      <a:pt x="41289" y="14423"/>
                    </a:cubicBezTo>
                    <a:cubicBezTo>
                      <a:pt x="38931" y="13368"/>
                      <a:pt x="36371" y="12835"/>
                      <a:pt x="33598" y="12835"/>
                    </a:cubicBezTo>
                    <a:cubicBezTo>
                      <a:pt x="30825" y="12835"/>
                      <a:pt x="28182" y="13344"/>
                      <a:pt x="25859" y="14375"/>
                    </a:cubicBezTo>
                    <a:cubicBezTo>
                      <a:pt x="23536" y="15406"/>
                      <a:pt x="21545" y="16817"/>
                      <a:pt x="19886" y="18630"/>
                    </a:cubicBezTo>
                    <a:cubicBezTo>
                      <a:pt x="18227" y="20443"/>
                      <a:pt x="16923" y="22541"/>
                      <a:pt x="15987" y="24923"/>
                    </a:cubicBezTo>
                    <a:cubicBezTo>
                      <a:pt x="15051" y="27305"/>
                      <a:pt x="14589" y="29853"/>
                      <a:pt x="14589" y="32579"/>
                    </a:cubicBezTo>
                    <a:lnTo>
                      <a:pt x="14589" y="32756"/>
                    </a:lnTo>
                    <a:cubicBezTo>
                      <a:pt x="14589" y="35470"/>
                      <a:pt x="15051" y="38042"/>
                      <a:pt x="15987" y="40448"/>
                    </a:cubicBezTo>
                    <a:cubicBezTo>
                      <a:pt x="16923" y="42865"/>
                      <a:pt x="18251" y="44975"/>
                      <a:pt x="19969" y="46788"/>
                    </a:cubicBezTo>
                    <a:cubicBezTo>
                      <a:pt x="21688" y="48601"/>
                      <a:pt x="23714" y="50035"/>
                      <a:pt x="26037" y="51090"/>
                    </a:cubicBezTo>
                    <a:cubicBezTo>
                      <a:pt x="28360" y="52145"/>
                      <a:pt x="30943" y="52678"/>
                      <a:pt x="33776" y="52678"/>
                    </a:cubicBezTo>
                    <a:cubicBezTo>
                      <a:pt x="36608" y="52678"/>
                      <a:pt x="39121" y="52169"/>
                      <a:pt x="41467" y="51138"/>
                    </a:cubicBezTo>
                    <a:cubicBezTo>
                      <a:pt x="43825" y="50106"/>
                      <a:pt x="45828" y="48696"/>
                      <a:pt x="47487" y="46883"/>
                    </a:cubicBezTo>
                    <a:cubicBezTo>
                      <a:pt x="49147" y="45070"/>
                      <a:pt x="50450" y="42972"/>
                      <a:pt x="51387" y="40590"/>
                    </a:cubicBezTo>
                    <a:cubicBezTo>
                      <a:pt x="52323" y="38208"/>
                      <a:pt x="52785" y="35660"/>
                      <a:pt x="52785" y="32934"/>
                    </a:cubicBezTo>
                    <a:lnTo>
                      <a:pt x="52785" y="32756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4EF11F01-56CB-C7D3-124F-BC5C3E95331F}"/>
                  </a:ext>
                </a:extLst>
              </p:cNvPr>
              <p:cNvSpPr/>
              <p:nvPr/>
            </p:nvSpPr>
            <p:spPr>
              <a:xfrm>
                <a:off x="2045181" y="6591543"/>
                <a:ext cx="96183" cy="64019"/>
              </a:xfrm>
              <a:custGeom>
                <a:avLst/>
                <a:gdLst>
                  <a:gd name="connsiteX0" fmla="*/ 74520 w 96183"/>
                  <a:gd name="connsiteY0" fmla="*/ 64020 h 64019"/>
                  <a:gd name="connsiteX1" fmla="*/ 62384 w 96183"/>
                  <a:gd name="connsiteY1" fmla="*/ 64020 h 64019"/>
                  <a:gd name="connsiteX2" fmla="*/ 48080 w 96183"/>
                  <a:gd name="connsiteY2" fmla="*/ 22553 h 64019"/>
                  <a:gd name="connsiteX3" fmla="*/ 33776 w 96183"/>
                  <a:gd name="connsiteY3" fmla="*/ 64020 h 64019"/>
                  <a:gd name="connsiteX4" fmla="*/ 21640 w 96183"/>
                  <a:gd name="connsiteY4" fmla="*/ 64020 h 64019"/>
                  <a:gd name="connsiteX5" fmla="*/ 0 w 96183"/>
                  <a:gd name="connsiteY5" fmla="*/ 190 h 64019"/>
                  <a:gd name="connsiteX6" fmla="*/ 14944 w 96183"/>
                  <a:gd name="connsiteY6" fmla="*/ 190 h 64019"/>
                  <a:gd name="connsiteX7" fmla="*/ 28075 w 96183"/>
                  <a:gd name="connsiteY7" fmla="*/ 43102 h 64019"/>
                  <a:gd name="connsiteX8" fmla="*/ 42297 w 96183"/>
                  <a:gd name="connsiteY8" fmla="*/ 0 h 64019"/>
                  <a:gd name="connsiteX9" fmla="*/ 54254 w 96183"/>
                  <a:gd name="connsiteY9" fmla="*/ 0 h 64019"/>
                  <a:gd name="connsiteX10" fmla="*/ 68476 w 96183"/>
                  <a:gd name="connsiteY10" fmla="*/ 43102 h 64019"/>
                  <a:gd name="connsiteX11" fmla="*/ 81607 w 96183"/>
                  <a:gd name="connsiteY11" fmla="*/ 190 h 64019"/>
                  <a:gd name="connsiteX12" fmla="*/ 96184 w 96183"/>
                  <a:gd name="connsiteY12" fmla="*/ 190 h 64019"/>
                  <a:gd name="connsiteX13" fmla="*/ 74544 w 96183"/>
                  <a:gd name="connsiteY13" fmla="*/ 64020 h 64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6183" h="64019">
                    <a:moveTo>
                      <a:pt x="74520" y="64020"/>
                    </a:moveTo>
                    <a:lnTo>
                      <a:pt x="62384" y="64020"/>
                    </a:lnTo>
                    <a:lnTo>
                      <a:pt x="48080" y="22553"/>
                    </a:lnTo>
                    <a:lnTo>
                      <a:pt x="33776" y="64020"/>
                    </a:lnTo>
                    <a:lnTo>
                      <a:pt x="21640" y="64020"/>
                    </a:lnTo>
                    <a:lnTo>
                      <a:pt x="0" y="190"/>
                    </a:lnTo>
                    <a:lnTo>
                      <a:pt x="14944" y="190"/>
                    </a:lnTo>
                    <a:lnTo>
                      <a:pt x="28075" y="43102"/>
                    </a:lnTo>
                    <a:lnTo>
                      <a:pt x="42297" y="0"/>
                    </a:lnTo>
                    <a:lnTo>
                      <a:pt x="54254" y="0"/>
                    </a:lnTo>
                    <a:lnTo>
                      <a:pt x="68476" y="43102"/>
                    </a:lnTo>
                    <a:lnTo>
                      <a:pt x="81607" y="190"/>
                    </a:lnTo>
                    <a:lnTo>
                      <a:pt x="96184" y="190"/>
                    </a:lnTo>
                    <a:lnTo>
                      <a:pt x="74544" y="64020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AF9E907-C88B-0AEB-FD27-ABA04C2A684B}"/>
                  </a:ext>
                </a:extLst>
              </p:cNvPr>
              <p:cNvSpPr/>
              <p:nvPr/>
            </p:nvSpPr>
            <p:spPr>
              <a:xfrm>
                <a:off x="1847244" y="6591863"/>
                <a:ext cx="54787" cy="63379"/>
              </a:xfrm>
              <a:custGeom>
                <a:avLst/>
                <a:gdLst>
                  <a:gd name="connsiteX0" fmla="*/ 36004 w 54787"/>
                  <a:gd name="connsiteY0" fmla="*/ 40744 h 63379"/>
                  <a:gd name="connsiteX1" fmla="*/ 49123 w 54787"/>
                  <a:gd name="connsiteY1" fmla="*/ 33633 h 63379"/>
                  <a:gd name="connsiteX2" fmla="*/ 52880 w 54787"/>
                  <a:gd name="connsiteY2" fmla="*/ 21095 h 63379"/>
                  <a:gd name="connsiteX3" fmla="*/ 52880 w 54787"/>
                  <a:gd name="connsiteY3" fmla="*/ 20917 h 63379"/>
                  <a:gd name="connsiteX4" fmla="*/ 46587 w 54787"/>
                  <a:gd name="connsiteY4" fmla="*/ 5523 h 63379"/>
                  <a:gd name="connsiteX5" fmla="*/ 28976 w 54787"/>
                  <a:gd name="connsiteY5" fmla="*/ 0 h 63379"/>
                  <a:gd name="connsiteX6" fmla="*/ 0 w 54787"/>
                  <a:gd name="connsiteY6" fmla="*/ 0 h 63379"/>
                  <a:gd name="connsiteX7" fmla="*/ 0 w 54787"/>
                  <a:gd name="connsiteY7" fmla="*/ 63380 h 63379"/>
                  <a:gd name="connsiteX8" fmla="*/ 13949 w 54787"/>
                  <a:gd name="connsiteY8" fmla="*/ 63380 h 63379"/>
                  <a:gd name="connsiteX9" fmla="*/ 13949 w 54787"/>
                  <a:gd name="connsiteY9" fmla="*/ 12586 h 63379"/>
                  <a:gd name="connsiteX10" fmla="*/ 27803 w 54787"/>
                  <a:gd name="connsiteY10" fmla="*/ 12586 h 63379"/>
                  <a:gd name="connsiteX11" fmla="*/ 35862 w 54787"/>
                  <a:gd name="connsiteY11" fmla="*/ 14849 h 63379"/>
                  <a:gd name="connsiteX12" fmla="*/ 38765 w 54787"/>
                  <a:gd name="connsiteY12" fmla="*/ 21640 h 63379"/>
                  <a:gd name="connsiteX13" fmla="*/ 38765 w 54787"/>
                  <a:gd name="connsiteY13" fmla="*/ 21818 h 63379"/>
                  <a:gd name="connsiteX14" fmla="*/ 36004 w 54787"/>
                  <a:gd name="connsiteY14" fmla="*/ 28336 h 63379"/>
                  <a:gd name="connsiteX15" fmla="*/ 28075 w 54787"/>
                  <a:gd name="connsiteY15" fmla="*/ 30777 h 63379"/>
                  <a:gd name="connsiteX16" fmla="*/ 20941 w 54787"/>
                  <a:gd name="connsiteY16" fmla="*/ 30777 h 63379"/>
                  <a:gd name="connsiteX17" fmla="*/ 20941 w 54787"/>
                  <a:gd name="connsiteY17" fmla="*/ 43091 h 63379"/>
                  <a:gd name="connsiteX18" fmla="*/ 36122 w 54787"/>
                  <a:gd name="connsiteY18" fmla="*/ 63368 h 63379"/>
                  <a:gd name="connsiteX19" fmla="*/ 54788 w 54787"/>
                  <a:gd name="connsiteY19" fmla="*/ 63368 h 63379"/>
                  <a:gd name="connsiteX20" fmla="*/ 36004 w 54787"/>
                  <a:gd name="connsiteY20" fmla="*/ 40732 h 63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4787" h="63379">
                    <a:moveTo>
                      <a:pt x="36004" y="40744"/>
                    </a:moveTo>
                    <a:cubicBezTo>
                      <a:pt x="43956" y="39038"/>
                      <a:pt x="46622" y="36869"/>
                      <a:pt x="49123" y="33633"/>
                    </a:cubicBezTo>
                    <a:cubicBezTo>
                      <a:pt x="51624" y="30398"/>
                      <a:pt x="52880" y="26227"/>
                      <a:pt x="52880" y="21095"/>
                    </a:cubicBezTo>
                    <a:lnTo>
                      <a:pt x="52880" y="20917"/>
                    </a:lnTo>
                    <a:cubicBezTo>
                      <a:pt x="52880" y="14340"/>
                      <a:pt x="50782" y="9208"/>
                      <a:pt x="46587" y="5523"/>
                    </a:cubicBezTo>
                    <a:cubicBezTo>
                      <a:pt x="42391" y="1837"/>
                      <a:pt x="36525" y="0"/>
                      <a:pt x="28976" y="0"/>
                    </a:cubicBezTo>
                    <a:lnTo>
                      <a:pt x="0" y="0"/>
                    </a:lnTo>
                    <a:lnTo>
                      <a:pt x="0" y="63380"/>
                    </a:lnTo>
                    <a:lnTo>
                      <a:pt x="13949" y="63380"/>
                    </a:lnTo>
                    <a:lnTo>
                      <a:pt x="13949" y="12586"/>
                    </a:lnTo>
                    <a:lnTo>
                      <a:pt x="27803" y="12586"/>
                    </a:lnTo>
                    <a:cubicBezTo>
                      <a:pt x="31240" y="12586"/>
                      <a:pt x="33930" y="13344"/>
                      <a:pt x="35862" y="14849"/>
                    </a:cubicBezTo>
                    <a:cubicBezTo>
                      <a:pt x="37793" y="16355"/>
                      <a:pt x="38765" y="18618"/>
                      <a:pt x="38765" y="21640"/>
                    </a:cubicBezTo>
                    <a:lnTo>
                      <a:pt x="38765" y="21818"/>
                    </a:lnTo>
                    <a:cubicBezTo>
                      <a:pt x="38765" y="24532"/>
                      <a:pt x="37841" y="26701"/>
                      <a:pt x="36004" y="28336"/>
                    </a:cubicBezTo>
                    <a:cubicBezTo>
                      <a:pt x="34167" y="29971"/>
                      <a:pt x="31524" y="30777"/>
                      <a:pt x="28075" y="30777"/>
                    </a:cubicBezTo>
                    <a:lnTo>
                      <a:pt x="20941" y="30777"/>
                    </a:lnTo>
                    <a:lnTo>
                      <a:pt x="20941" y="43091"/>
                    </a:lnTo>
                    <a:lnTo>
                      <a:pt x="36122" y="63368"/>
                    </a:lnTo>
                    <a:lnTo>
                      <a:pt x="54788" y="63368"/>
                    </a:lnTo>
                    <a:lnTo>
                      <a:pt x="36004" y="40732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8AB0850E-57B9-7543-0828-D0D2ACAD70F8}"/>
                  </a:ext>
                </a:extLst>
              </p:cNvPr>
              <p:cNvSpPr/>
              <p:nvPr/>
            </p:nvSpPr>
            <p:spPr>
              <a:xfrm>
                <a:off x="1913895" y="6591863"/>
                <a:ext cx="54787" cy="63379"/>
              </a:xfrm>
              <a:custGeom>
                <a:avLst/>
                <a:gdLst>
                  <a:gd name="connsiteX0" fmla="*/ 36004 w 54787"/>
                  <a:gd name="connsiteY0" fmla="*/ 40744 h 63379"/>
                  <a:gd name="connsiteX1" fmla="*/ 49123 w 54787"/>
                  <a:gd name="connsiteY1" fmla="*/ 33633 h 63379"/>
                  <a:gd name="connsiteX2" fmla="*/ 52880 w 54787"/>
                  <a:gd name="connsiteY2" fmla="*/ 21095 h 63379"/>
                  <a:gd name="connsiteX3" fmla="*/ 52880 w 54787"/>
                  <a:gd name="connsiteY3" fmla="*/ 20917 h 63379"/>
                  <a:gd name="connsiteX4" fmla="*/ 46587 w 54787"/>
                  <a:gd name="connsiteY4" fmla="*/ 5523 h 63379"/>
                  <a:gd name="connsiteX5" fmla="*/ 28976 w 54787"/>
                  <a:gd name="connsiteY5" fmla="*/ 0 h 63379"/>
                  <a:gd name="connsiteX6" fmla="*/ 0 w 54787"/>
                  <a:gd name="connsiteY6" fmla="*/ 0 h 63379"/>
                  <a:gd name="connsiteX7" fmla="*/ 0 w 54787"/>
                  <a:gd name="connsiteY7" fmla="*/ 63380 h 63379"/>
                  <a:gd name="connsiteX8" fmla="*/ 13949 w 54787"/>
                  <a:gd name="connsiteY8" fmla="*/ 63380 h 63379"/>
                  <a:gd name="connsiteX9" fmla="*/ 13949 w 54787"/>
                  <a:gd name="connsiteY9" fmla="*/ 12586 h 63379"/>
                  <a:gd name="connsiteX10" fmla="*/ 27803 w 54787"/>
                  <a:gd name="connsiteY10" fmla="*/ 12586 h 63379"/>
                  <a:gd name="connsiteX11" fmla="*/ 35862 w 54787"/>
                  <a:gd name="connsiteY11" fmla="*/ 14849 h 63379"/>
                  <a:gd name="connsiteX12" fmla="*/ 38765 w 54787"/>
                  <a:gd name="connsiteY12" fmla="*/ 21640 h 63379"/>
                  <a:gd name="connsiteX13" fmla="*/ 38765 w 54787"/>
                  <a:gd name="connsiteY13" fmla="*/ 21818 h 63379"/>
                  <a:gd name="connsiteX14" fmla="*/ 36004 w 54787"/>
                  <a:gd name="connsiteY14" fmla="*/ 28336 h 63379"/>
                  <a:gd name="connsiteX15" fmla="*/ 28075 w 54787"/>
                  <a:gd name="connsiteY15" fmla="*/ 30777 h 63379"/>
                  <a:gd name="connsiteX16" fmla="*/ 20941 w 54787"/>
                  <a:gd name="connsiteY16" fmla="*/ 30777 h 63379"/>
                  <a:gd name="connsiteX17" fmla="*/ 20941 w 54787"/>
                  <a:gd name="connsiteY17" fmla="*/ 43091 h 63379"/>
                  <a:gd name="connsiteX18" fmla="*/ 36122 w 54787"/>
                  <a:gd name="connsiteY18" fmla="*/ 63368 h 63379"/>
                  <a:gd name="connsiteX19" fmla="*/ 54788 w 54787"/>
                  <a:gd name="connsiteY19" fmla="*/ 63368 h 63379"/>
                  <a:gd name="connsiteX20" fmla="*/ 36004 w 54787"/>
                  <a:gd name="connsiteY20" fmla="*/ 40732 h 63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4787" h="63379">
                    <a:moveTo>
                      <a:pt x="36004" y="40744"/>
                    </a:moveTo>
                    <a:cubicBezTo>
                      <a:pt x="43956" y="39038"/>
                      <a:pt x="46622" y="36869"/>
                      <a:pt x="49123" y="33633"/>
                    </a:cubicBezTo>
                    <a:cubicBezTo>
                      <a:pt x="51624" y="30398"/>
                      <a:pt x="52880" y="26227"/>
                      <a:pt x="52880" y="21095"/>
                    </a:cubicBezTo>
                    <a:lnTo>
                      <a:pt x="52880" y="20917"/>
                    </a:lnTo>
                    <a:cubicBezTo>
                      <a:pt x="52880" y="14340"/>
                      <a:pt x="50782" y="9208"/>
                      <a:pt x="46587" y="5523"/>
                    </a:cubicBezTo>
                    <a:cubicBezTo>
                      <a:pt x="42391" y="1837"/>
                      <a:pt x="36525" y="0"/>
                      <a:pt x="28976" y="0"/>
                    </a:cubicBezTo>
                    <a:lnTo>
                      <a:pt x="0" y="0"/>
                    </a:lnTo>
                    <a:lnTo>
                      <a:pt x="0" y="63380"/>
                    </a:lnTo>
                    <a:lnTo>
                      <a:pt x="13949" y="63380"/>
                    </a:lnTo>
                    <a:lnTo>
                      <a:pt x="13949" y="12586"/>
                    </a:lnTo>
                    <a:lnTo>
                      <a:pt x="27803" y="12586"/>
                    </a:lnTo>
                    <a:cubicBezTo>
                      <a:pt x="31240" y="12586"/>
                      <a:pt x="33930" y="13344"/>
                      <a:pt x="35862" y="14849"/>
                    </a:cubicBezTo>
                    <a:cubicBezTo>
                      <a:pt x="37793" y="16355"/>
                      <a:pt x="38765" y="18618"/>
                      <a:pt x="38765" y="21640"/>
                    </a:cubicBezTo>
                    <a:lnTo>
                      <a:pt x="38765" y="21818"/>
                    </a:lnTo>
                    <a:cubicBezTo>
                      <a:pt x="38765" y="24532"/>
                      <a:pt x="37841" y="26701"/>
                      <a:pt x="36004" y="28336"/>
                    </a:cubicBezTo>
                    <a:cubicBezTo>
                      <a:pt x="34167" y="29971"/>
                      <a:pt x="31524" y="30777"/>
                      <a:pt x="28075" y="30777"/>
                    </a:cubicBezTo>
                    <a:lnTo>
                      <a:pt x="20941" y="30777"/>
                    </a:lnTo>
                    <a:lnTo>
                      <a:pt x="20941" y="43091"/>
                    </a:lnTo>
                    <a:lnTo>
                      <a:pt x="36122" y="63368"/>
                    </a:lnTo>
                    <a:lnTo>
                      <a:pt x="54788" y="63368"/>
                    </a:lnTo>
                    <a:lnTo>
                      <a:pt x="36004" y="40732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4222C66-2BDC-D11D-4A46-0ADF351E4314}"/>
                </a:ext>
              </a:extLst>
            </p:cNvPr>
            <p:cNvGrpSpPr/>
            <p:nvPr/>
          </p:nvGrpSpPr>
          <p:grpSpPr>
            <a:xfrm>
              <a:off x="289932" y="6281977"/>
              <a:ext cx="5523639" cy="129643"/>
              <a:chOff x="-20516" y="2052871"/>
              <a:chExt cx="8461851" cy="198605"/>
            </a:xfrm>
            <a:grpFill/>
          </p:grpSpPr>
          <p:sp>
            <p:nvSpPr>
              <p:cNvPr id="17" name="AutoShape 24">
                <a:extLst>
                  <a:ext uri="{FF2B5EF4-FFF2-40B4-BE49-F238E27FC236}">
                    <a16:creationId xmlns:a16="http://schemas.microsoft.com/office/drawing/2014/main" id="{8A9BCAC9-D317-77E9-4DA8-7AE6EC6807D8}"/>
                  </a:ext>
                </a:extLst>
              </p:cNvPr>
              <p:cNvSpPr/>
              <p:nvPr/>
            </p:nvSpPr>
            <p:spPr>
              <a:xfrm flipV="1">
                <a:off x="1032937" y="2052871"/>
                <a:ext cx="7408398" cy="0"/>
              </a:xfrm>
              <a:prstGeom prst="line">
                <a:avLst/>
              </a:prstGeom>
              <a:grpFill/>
              <a:ln w="28575" cap="flat">
                <a:solidFill>
                  <a:schemeClr val="bg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AutoShape 24">
                <a:extLst>
                  <a:ext uri="{FF2B5EF4-FFF2-40B4-BE49-F238E27FC236}">
                    <a16:creationId xmlns:a16="http://schemas.microsoft.com/office/drawing/2014/main" id="{3050ADE1-EF00-D05B-0CC3-C9B99716B399}"/>
                  </a:ext>
                </a:extLst>
              </p:cNvPr>
              <p:cNvSpPr/>
              <p:nvPr/>
            </p:nvSpPr>
            <p:spPr>
              <a:xfrm flipV="1">
                <a:off x="-20516" y="2052877"/>
                <a:ext cx="927307" cy="0"/>
              </a:xfrm>
              <a:prstGeom prst="line">
                <a:avLst/>
              </a:prstGeom>
              <a:grpFill/>
              <a:ln w="28575" cap="flat">
                <a:solidFill>
                  <a:schemeClr val="bg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AutoShape 24">
                <a:extLst>
                  <a:ext uri="{FF2B5EF4-FFF2-40B4-BE49-F238E27FC236}">
                    <a16:creationId xmlns:a16="http://schemas.microsoft.com/office/drawing/2014/main" id="{701DE32D-8674-6E81-1F23-4CFF17E281D9}"/>
                  </a:ext>
                </a:extLst>
              </p:cNvPr>
              <p:cNvSpPr/>
              <p:nvPr/>
            </p:nvSpPr>
            <p:spPr>
              <a:xfrm flipH="1" flipV="1">
                <a:off x="968334" y="2131093"/>
                <a:ext cx="0" cy="120383"/>
              </a:xfrm>
              <a:prstGeom prst="line">
                <a:avLst/>
              </a:prstGeom>
              <a:grpFill/>
              <a:ln w="28575" cap="flat">
                <a:solidFill>
                  <a:schemeClr val="bg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48" name="Title 22">
            <a:extLst>
              <a:ext uri="{FF2B5EF4-FFF2-40B4-BE49-F238E27FC236}">
                <a16:creationId xmlns:a16="http://schemas.microsoft.com/office/drawing/2014/main" id="{777F6401-85E8-F74A-16CC-31167DCC7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075" y="575013"/>
            <a:ext cx="5172287" cy="377626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8894C82E-BA35-1024-75D9-ECDA7F483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0202" y="1556724"/>
            <a:ext cx="5184344" cy="452279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l">
              <a:buNone/>
              <a:defRPr sz="1600"/>
            </a:lvl2pPr>
            <a:lvl3pPr marL="914400" indent="0" algn="l">
              <a:buNone/>
              <a:defRPr sz="1600"/>
            </a:lvl3pPr>
            <a:lvl4pPr marL="1371600" indent="0" algn="l">
              <a:buNone/>
              <a:defRPr sz="1600"/>
            </a:lvl4pPr>
            <a:lvl5pPr marL="1828800" indent="0" algn="l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7AAECF0-E649-084B-D3A3-0312F8C43A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417" y="1050288"/>
            <a:ext cx="5171817" cy="3051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subheading text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8C21F5E7-3B4A-24CF-0539-659B6988883A}"/>
              </a:ext>
            </a:extLst>
          </p:cNvPr>
          <p:cNvSpPr txBox="1">
            <a:spLocks/>
          </p:cNvSpPr>
          <p:nvPr userDrawn="1"/>
        </p:nvSpPr>
        <p:spPr>
          <a:xfrm>
            <a:off x="10925833" y="6419828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anose="020B05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18D3696-4DDA-C637-95C5-8A82F097E55F}"/>
              </a:ext>
            </a:extLst>
          </p:cNvPr>
          <p:cNvSpPr txBox="1"/>
          <p:nvPr userDrawn="1"/>
        </p:nvSpPr>
        <p:spPr>
          <a:xfrm>
            <a:off x="-15071" y="6611779"/>
            <a:ext cx="609777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AU" sz="1000">
                <a:solidFill>
                  <a:schemeClr val="bg1"/>
                </a:solidFill>
              </a:rPr>
              <a:t>CONFIDENTIAL MATERIAL – DO NOT DISTRIBUTE </a:t>
            </a:r>
          </a:p>
        </p:txBody>
      </p:sp>
    </p:spTree>
    <p:extLst>
      <p:ext uri="{BB962C8B-B14F-4D97-AF65-F5344CB8AC3E}">
        <p14:creationId xmlns:p14="http://schemas.microsoft.com/office/powerpoint/2010/main" val="2572899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D5057B5-602C-7484-4FEE-3B30773814D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grpSp>
        <p:nvGrpSpPr>
          <p:cNvPr id="30" name="Graphic 25">
            <a:extLst>
              <a:ext uri="{FF2B5EF4-FFF2-40B4-BE49-F238E27FC236}">
                <a16:creationId xmlns:a16="http://schemas.microsoft.com/office/drawing/2014/main" id="{CF9C53F7-BE92-BFAE-3CC9-8383B4E5A658}"/>
              </a:ext>
            </a:extLst>
          </p:cNvPr>
          <p:cNvGrpSpPr/>
          <p:nvPr userDrawn="1"/>
        </p:nvGrpSpPr>
        <p:grpSpPr>
          <a:xfrm>
            <a:off x="641802" y="6483229"/>
            <a:ext cx="588657" cy="65548"/>
            <a:chOff x="1552708" y="6590654"/>
            <a:chExt cx="588657" cy="65548"/>
          </a:xfrm>
          <a:solidFill>
            <a:schemeClr val="tx1"/>
          </a:solidFill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8B7B050-99B0-3F6A-9747-5BE7F562146C}"/>
                </a:ext>
              </a:extLst>
            </p:cNvPr>
            <p:cNvSpPr/>
            <p:nvPr/>
          </p:nvSpPr>
          <p:spPr>
            <a:xfrm>
              <a:off x="1552708" y="6591721"/>
              <a:ext cx="52512" cy="63379"/>
            </a:xfrm>
            <a:custGeom>
              <a:avLst/>
              <a:gdLst>
                <a:gd name="connsiteX0" fmla="*/ 33231 w 52512"/>
                <a:gd name="connsiteY0" fmla="*/ 12858 h 63379"/>
                <a:gd name="connsiteX1" fmla="*/ 33231 w 52512"/>
                <a:gd name="connsiteY1" fmla="*/ 63380 h 63379"/>
                <a:gd name="connsiteX2" fmla="*/ 19282 w 52512"/>
                <a:gd name="connsiteY2" fmla="*/ 63380 h 63379"/>
                <a:gd name="connsiteX3" fmla="*/ 19282 w 52512"/>
                <a:gd name="connsiteY3" fmla="*/ 12858 h 63379"/>
                <a:gd name="connsiteX4" fmla="*/ 0 w 52512"/>
                <a:gd name="connsiteY4" fmla="*/ 12858 h 63379"/>
                <a:gd name="connsiteX5" fmla="*/ 0 w 52512"/>
                <a:gd name="connsiteY5" fmla="*/ 0 h 63379"/>
                <a:gd name="connsiteX6" fmla="*/ 52512 w 52512"/>
                <a:gd name="connsiteY6" fmla="*/ 0 h 63379"/>
                <a:gd name="connsiteX7" fmla="*/ 52512 w 52512"/>
                <a:gd name="connsiteY7" fmla="*/ 12858 h 63379"/>
                <a:gd name="connsiteX8" fmla="*/ 33231 w 52512"/>
                <a:gd name="connsiteY8" fmla="*/ 12858 h 63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512" h="63379">
                  <a:moveTo>
                    <a:pt x="33231" y="12858"/>
                  </a:moveTo>
                  <a:lnTo>
                    <a:pt x="33231" y="63380"/>
                  </a:lnTo>
                  <a:lnTo>
                    <a:pt x="19282" y="63380"/>
                  </a:lnTo>
                  <a:lnTo>
                    <a:pt x="19282" y="12858"/>
                  </a:lnTo>
                  <a:lnTo>
                    <a:pt x="0" y="12858"/>
                  </a:lnTo>
                  <a:lnTo>
                    <a:pt x="0" y="0"/>
                  </a:lnTo>
                  <a:lnTo>
                    <a:pt x="52512" y="0"/>
                  </a:lnTo>
                  <a:lnTo>
                    <a:pt x="52512" y="12858"/>
                  </a:lnTo>
                  <a:lnTo>
                    <a:pt x="33231" y="12858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B12D2CD-9C48-10D3-89CA-61CD1A0FAFBB}"/>
                </a:ext>
              </a:extLst>
            </p:cNvPr>
            <p:cNvSpPr/>
            <p:nvPr/>
          </p:nvSpPr>
          <p:spPr>
            <a:xfrm>
              <a:off x="1613113" y="6590654"/>
              <a:ext cx="67361" cy="65548"/>
            </a:xfrm>
            <a:custGeom>
              <a:avLst/>
              <a:gdLst>
                <a:gd name="connsiteX0" fmla="*/ 64826 w 67361"/>
                <a:gd name="connsiteY0" fmla="*/ 45485 h 65548"/>
                <a:gd name="connsiteX1" fmla="*/ 57810 w 67361"/>
                <a:gd name="connsiteY1" fmla="*/ 55902 h 65548"/>
                <a:gd name="connsiteX2" fmla="*/ 47120 w 67361"/>
                <a:gd name="connsiteY2" fmla="*/ 62965 h 65548"/>
                <a:gd name="connsiteX3" fmla="*/ 33586 w 67361"/>
                <a:gd name="connsiteY3" fmla="*/ 65548 h 65548"/>
                <a:gd name="connsiteX4" fmla="*/ 20100 w 67361"/>
                <a:gd name="connsiteY4" fmla="*/ 62965 h 65548"/>
                <a:gd name="connsiteX5" fmla="*/ 9457 w 67361"/>
                <a:gd name="connsiteY5" fmla="*/ 55996 h 65548"/>
                <a:gd name="connsiteX6" fmla="*/ 2489 w 67361"/>
                <a:gd name="connsiteY6" fmla="*/ 45674 h 65548"/>
                <a:gd name="connsiteX7" fmla="*/ 0 w 67361"/>
                <a:gd name="connsiteY7" fmla="*/ 32958 h 65548"/>
                <a:gd name="connsiteX8" fmla="*/ 0 w 67361"/>
                <a:gd name="connsiteY8" fmla="*/ 32780 h 65548"/>
                <a:gd name="connsiteX9" fmla="*/ 2536 w 67361"/>
                <a:gd name="connsiteY9" fmla="*/ 20064 h 65548"/>
                <a:gd name="connsiteX10" fmla="*/ 9552 w 67361"/>
                <a:gd name="connsiteY10" fmla="*/ 9647 h 65548"/>
                <a:gd name="connsiteX11" fmla="*/ 20242 w 67361"/>
                <a:gd name="connsiteY11" fmla="*/ 2584 h 65548"/>
                <a:gd name="connsiteX12" fmla="*/ 33776 w 67361"/>
                <a:gd name="connsiteY12" fmla="*/ 0 h 65548"/>
                <a:gd name="connsiteX13" fmla="*/ 47262 w 67361"/>
                <a:gd name="connsiteY13" fmla="*/ 2584 h 65548"/>
                <a:gd name="connsiteX14" fmla="*/ 57905 w 67361"/>
                <a:gd name="connsiteY14" fmla="*/ 9552 h 65548"/>
                <a:gd name="connsiteX15" fmla="*/ 64873 w 67361"/>
                <a:gd name="connsiteY15" fmla="*/ 19874 h 65548"/>
                <a:gd name="connsiteX16" fmla="*/ 67362 w 67361"/>
                <a:gd name="connsiteY16" fmla="*/ 32591 h 65548"/>
                <a:gd name="connsiteX17" fmla="*/ 67362 w 67361"/>
                <a:gd name="connsiteY17" fmla="*/ 32768 h 65548"/>
                <a:gd name="connsiteX18" fmla="*/ 64826 w 67361"/>
                <a:gd name="connsiteY18" fmla="*/ 45496 h 65548"/>
                <a:gd name="connsiteX19" fmla="*/ 52785 w 67361"/>
                <a:gd name="connsiteY19" fmla="*/ 32756 h 65548"/>
                <a:gd name="connsiteX20" fmla="*/ 51387 w 67361"/>
                <a:gd name="connsiteY20" fmla="*/ 25065 h 65548"/>
                <a:gd name="connsiteX21" fmla="*/ 47405 w 67361"/>
                <a:gd name="connsiteY21" fmla="*/ 18725 h 65548"/>
                <a:gd name="connsiteX22" fmla="*/ 41289 w 67361"/>
                <a:gd name="connsiteY22" fmla="*/ 14423 h 65548"/>
                <a:gd name="connsiteX23" fmla="*/ 33598 w 67361"/>
                <a:gd name="connsiteY23" fmla="*/ 12835 h 65548"/>
                <a:gd name="connsiteX24" fmla="*/ 25859 w 67361"/>
                <a:gd name="connsiteY24" fmla="*/ 14375 h 65548"/>
                <a:gd name="connsiteX25" fmla="*/ 19886 w 67361"/>
                <a:gd name="connsiteY25" fmla="*/ 18630 h 65548"/>
                <a:gd name="connsiteX26" fmla="*/ 15987 w 67361"/>
                <a:gd name="connsiteY26" fmla="*/ 24923 h 65548"/>
                <a:gd name="connsiteX27" fmla="*/ 14589 w 67361"/>
                <a:gd name="connsiteY27" fmla="*/ 32579 h 65548"/>
                <a:gd name="connsiteX28" fmla="*/ 14589 w 67361"/>
                <a:gd name="connsiteY28" fmla="*/ 32756 h 65548"/>
                <a:gd name="connsiteX29" fmla="*/ 15987 w 67361"/>
                <a:gd name="connsiteY29" fmla="*/ 40448 h 65548"/>
                <a:gd name="connsiteX30" fmla="*/ 19969 w 67361"/>
                <a:gd name="connsiteY30" fmla="*/ 46788 h 65548"/>
                <a:gd name="connsiteX31" fmla="*/ 26037 w 67361"/>
                <a:gd name="connsiteY31" fmla="*/ 51090 h 65548"/>
                <a:gd name="connsiteX32" fmla="*/ 33776 w 67361"/>
                <a:gd name="connsiteY32" fmla="*/ 52678 h 65548"/>
                <a:gd name="connsiteX33" fmla="*/ 41467 w 67361"/>
                <a:gd name="connsiteY33" fmla="*/ 51138 h 65548"/>
                <a:gd name="connsiteX34" fmla="*/ 47487 w 67361"/>
                <a:gd name="connsiteY34" fmla="*/ 46883 h 65548"/>
                <a:gd name="connsiteX35" fmla="*/ 51387 w 67361"/>
                <a:gd name="connsiteY35" fmla="*/ 40590 h 65548"/>
                <a:gd name="connsiteX36" fmla="*/ 52785 w 67361"/>
                <a:gd name="connsiteY36" fmla="*/ 32934 h 65548"/>
                <a:gd name="connsiteX37" fmla="*/ 52785 w 67361"/>
                <a:gd name="connsiteY37" fmla="*/ 32756 h 65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7361" h="65548">
                  <a:moveTo>
                    <a:pt x="64826" y="45485"/>
                  </a:moveTo>
                  <a:cubicBezTo>
                    <a:pt x="63131" y="49443"/>
                    <a:pt x="60796" y="52903"/>
                    <a:pt x="57810" y="55902"/>
                  </a:cubicBezTo>
                  <a:cubicBezTo>
                    <a:pt x="54823" y="58900"/>
                    <a:pt x="51256" y="61247"/>
                    <a:pt x="47120" y="62965"/>
                  </a:cubicBezTo>
                  <a:cubicBezTo>
                    <a:pt x="42984" y="64683"/>
                    <a:pt x="38469" y="65548"/>
                    <a:pt x="33586" y="65548"/>
                  </a:cubicBezTo>
                  <a:cubicBezTo>
                    <a:pt x="28703" y="65548"/>
                    <a:pt x="24200" y="64683"/>
                    <a:pt x="20100" y="62965"/>
                  </a:cubicBezTo>
                  <a:cubicBezTo>
                    <a:pt x="15999" y="61247"/>
                    <a:pt x="12444" y="58924"/>
                    <a:pt x="9457" y="55996"/>
                  </a:cubicBezTo>
                  <a:cubicBezTo>
                    <a:pt x="6471" y="53069"/>
                    <a:pt x="4148" y="49632"/>
                    <a:pt x="2489" y="45674"/>
                  </a:cubicBezTo>
                  <a:cubicBezTo>
                    <a:pt x="830" y="41716"/>
                    <a:pt x="0" y="37485"/>
                    <a:pt x="0" y="32958"/>
                  </a:cubicBezTo>
                  <a:lnTo>
                    <a:pt x="0" y="32780"/>
                  </a:lnTo>
                  <a:cubicBezTo>
                    <a:pt x="0" y="28253"/>
                    <a:pt x="841" y="24010"/>
                    <a:pt x="2536" y="20064"/>
                  </a:cubicBezTo>
                  <a:cubicBezTo>
                    <a:pt x="4231" y="16118"/>
                    <a:pt x="6566" y="12645"/>
                    <a:pt x="9552" y="9647"/>
                  </a:cubicBezTo>
                  <a:cubicBezTo>
                    <a:pt x="12539" y="6660"/>
                    <a:pt x="16106" y="4302"/>
                    <a:pt x="20242" y="2584"/>
                  </a:cubicBezTo>
                  <a:cubicBezTo>
                    <a:pt x="24378" y="865"/>
                    <a:pt x="28893" y="0"/>
                    <a:pt x="33776" y="0"/>
                  </a:cubicBezTo>
                  <a:cubicBezTo>
                    <a:pt x="38658" y="0"/>
                    <a:pt x="43162" y="865"/>
                    <a:pt x="47262" y="2584"/>
                  </a:cubicBezTo>
                  <a:cubicBezTo>
                    <a:pt x="51363" y="4302"/>
                    <a:pt x="54918" y="6625"/>
                    <a:pt x="57905" y="9552"/>
                  </a:cubicBezTo>
                  <a:cubicBezTo>
                    <a:pt x="60891" y="12479"/>
                    <a:pt x="63214" y="15916"/>
                    <a:pt x="64873" y="19874"/>
                  </a:cubicBezTo>
                  <a:cubicBezTo>
                    <a:pt x="66532" y="23833"/>
                    <a:pt x="67362" y="28063"/>
                    <a:pt x="67362" y="32591"/>
                  </a:cubicBezTo>
                  <a:lnTo>
                    <a:pt x="67362" y="32768"/>
                  </a:lnTo>
                  <a:cubicBezTo>
                    <a:pt x="67362" y="37295"/>
                    <a:pt x="66520" y="41538"/>
                    <a:pt x="64826" y="45496"/>
                  </a:cubicBezTo>
                  <a:close/>
                  <a:moveTo>
                    <a:pt x="52785" y="32756"/>
                  </a:moveTo>
                  <a:cubicBezTo>
                    <a:pt x="52785" y="30043"/>
                    <a:pt x="52323" y="27471"/>
                    <a:pt x="51387" y="25065"/>
                  </a:cubicBezTo>
                  <a:cubicBezTo>
                    <a:pt x="50450" y="22647"/>
                    <a:pt x="49123" y="20538"/>
                    <a:pt x="47405" y="18725"/>
                  </a:cubicBezTo>
                  <a:cubicBezTo>
                    <a:pt x="45686" y="16912"/>
                    <a:pt x="43648" y="15478"/>
                    <a:pt x="41289" y="14423"/>
                  </a:cubicBezTo>
                  <a:cubicBezTo>
                    <a:pt x="38931" y="13368"/>
                    <a:pt x="36371" y="12835"/>
                    <a:pt x="33598" y="12835"/>
                  </a:cubicBezTo>
                  <a:cubicBezTo>
                    <a:pt x="30825" y="12835"/>
                    <a:pt x="28182" y="13344"/>
                    <a:pt x="25859" y="14375"/>
                  </a:cubicBezTo>
                  <a:cubicBezTo>
                    <a:pt x="23536" y="15406"/>
                    <a:pt x="21545" y="16817"/>
                    <a:pt x="19886" y="18630"/>
                  </a:cubicBezTo>
                  <a:cubicBezTo>
                    <a:pt x="18227" y="20443"/>
                    <a:pt x="16923" y="22541"/>
                    <a:pt x="15987" y="24923"/>
                  </a:cubicBezTo>
                  <a:cubicBezTo>
                    <a:pt x="15051" y="27305"/>
                    <a:pt x="14589" y="29853"/>
                    <a:pt x="14589" y="32579"/>
                  </a:cubicBezTo>
                  <a:lnTo>
                    <a:pt x="14589" y="32756"/>
                  </a:lnTo>
                  <a:cubicBezTo>
                    <a:pt x="14589" y="35470"/>
                    <a:pt x="15051" y="38042"/>
                    <a:pt x="15987" y="40448"/>
                  </a:cubicBezTo>
                  <a:cubicBezTo>
                    <a:pt x="16923" y="42865"/>
                    <a:pt x="18251" y="44975"/>
                    <a:pt x="19969" y="46788"/>
                  </a:cubicBezTo>
                  <a:cubicBezTo>
                    <a:pt x="21688" y="48601"/>
                    <a:pt x="23714" y="50035"/>
                    <a:pt x="26037" y="51090"/>
                  </a:cubicBezTo>
                  <a:cubicBezTo>
                    <a:pt x="28360" y="52145"/>
                    <a:pt x="30943" y="52678"/>
                    <a:pt x="33776" y="52678"/>
                  </a:cubicBezTo>
                  <a:cubicBezTo>
                    <a:pt x="36608" y="52678"/>
                    <a:pt x="39121" y="52169"/>
                    <a:pt x="41467" y="51138"/>
                  </a:cubicBezTo>
                  <a:cubicBezTo>
                    <a:pt x="43825" y="50106"/>
                    <a:pt x="45828" y="48696"/>
                    <a:pt x="47487" y="46883"/>
                  </a:cubicBezTo>
                  <a:cubicBezTo>
                    <a:pt x="49147" y="45070"/>
                    <a:pt x="50450" y="42972"/>
                    <a:pt x="51387" y="40590"/>
                  </a:cubicBezTo>
                  <a:cubicBezTo>
                    <a:pt x="52323" y="38208"/>
                    <a:pt x="52785" y="35660"/>
                    <a:pt x="52785" y="32934"/>
                  </a:cubicBezTo>
                  <a:lnTo>
                    <a:pt x="52785" y="32756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FD220D4-A39E-9B22-4F01-D32EC5784D65}"/>
                </a:ext>
              </a:extLst>
            </p:cNvPr>
            <p:cNvSpPr/>
            <p:nvPr/>
          </p:nvSpPr>
          <p:spPr>
            <a:xfrm>
              <a:off x="1692871" y="6591709"/>
              <a:ext cx="63379" cy="63391"/>
            </a:xfrm>
            <a:custGeom>
              <a:avLst/>
              <a:gdLst>
                <a:gd name="connsiteX0" fmla="*/ 49621 w 63379"/>
                <a:gd name="connsiteY0" fmla="*/ 63392 h 63391"/>
                <a:gd name="connsiteX1" fmla="*/ 49621 w 63379"/>
                <a:gd name="connsiteY1" fmla="*/ 22008 h 63391"/>
                <a:gd name="connsiteX2" fmla="*/ 31785 w 63379"/>
                <a:gd name="connsiteY2" fmla="*/ 49075 h 63391"/>
                <a:gd name="connsiteX3" fmla="*/ 31417 w 63379"/>
                <a:gd name="connsiteY3" fmla="*/ 49075 h 63391"/>
                <a:gd name="connsiteX4" fmla="*/ 13759 w 63379"/>
                <a:gd name="connsiteY4" fmla="*/ 22268 h 63391"/>
                <a:gd name="connsiteX5" fmla="*/ 13759 w 63379"/>
                <a:gd name="connsiteY5" fmla="*/ 63380 h 63391"/>
                <a:gd name="connsiteX6" fmla="*/ 0 w 63379"/>
                <a:gd name="connsiteY6" fmla="*/ 63380 h 63391"/>
                <a:gd name="connsiteX7" fmla="*/ 0 w 63379"/>
                <a:gd name="connsiteY7" fmla="*/ 0 h 63391"/>
                <a:gd name="connsiteX8" fmla="*/ 15027 w 63379"/>
                <a:gd name="connsiteY8" fmla="*/ 0 h 63391"/>
                <a:gd name="connsiteX9" fmla="*/ 31690 w 63379"/>
                <a:gd name="connsiteY9" fmla="*/ 26807 h 63391"/>
                <a:gd name="connsiteX10" fmla="*/ 48353 w 63379"/>
                <a:gd name="connsiteY10" fmla="*/ 0 h 63391"/>
                <a:gd name="connsiteX11" fmla="*/ 63380 w 63379"/>
                <a:gd name="connsiteY11" fmla="*/ 0 h 63391"/>
                <a:gd name="connsiteX12" fmla="*/ 63380 w 63379"/>
                <a:gd name="connsiteY12" fmla="*/ 63380 h 63391"/>
                <a:gd name="connsiteX13" fmla="*/ 49621 w 63379"/>
                <a:gd name="connsiteY13" fmla="*/ 63380 h 63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79" h="63391">
                  <a:moveTo>
                    <a:pt x="49621" y="63392"/>
                  </a:moveTo>
                  <a:lnTo>
                    <a:pt x="49621" y="22008"/>
                  </a:lnTo>
                  <a:lnTo>
                    <a:pt x="31785" y="49075"/>
                  </a:lnTo>
                  <a:lnTo>
                    <a:pt x="31417" y="49075"/>
                  </a:lnTo>
                  <a:lnTo>
                    <a:pt x="13759" y="22268"/>
                  </a:lnTo>
                  <a:lnTo>
                    <a:pt x="13759" y="63380"/>
                  </a:lnTo>
                  <a:lnTo>
                    <a:pt x="0" y="63380"/>
                  </a:lnTo>
                  <a:lnTo>
                    <a:pt x="0" y="0"/>
                  </a:lnTo>
                  <a:lnTo>
                    <a:pt x="15027" y="0"/>
                  </a:lnTo>
                  <a:lnTo>
                    <a:pt x="31690" y="26807"/>
                  </a:lnTo>
                  <a:lnTo>
                    <a:pt x="48353" y="0"/>
                  </a:lnTo>
                  <a:lnTo>
                    <a:pt x="63380" y="0"/>
                  </a:lnTo>
                  <a:lnTo>
                    <a:pt x="63380" y="63380"/>
                  </a:lnTo>
                  <a:lnTo>
                    <a:pt x="49621" y="63380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87EDA82-CE3D-A879-4EC0-3182FB6CB657}"/>
                </a:ext>
              </a:extLst>
            </p:cNvPr>
            <p:cNvSpPr/>
            <p:nvPr/>
          </p:nvSpPr>
          <p:spPr>
            <a:xfrm>
              <a:off x="1768671" y="6590654"/>
              <a:ext cx="67361" cy="65548"/>
            </a:xfrm>
            <a:custGeom>
              <a:avLst/>
              <a:gdLst>
                <a:gd name="connsiteX0" fmla="*/ 64826 w 67361"/>
                <a:gd name="connsiteY0" fmla="*/ 45485 h 65548"/>
                <a:gd name="connsiteX1" fmla="*/ 57810 w 67361"/>
                <a:gd name="connsiteY1" fmla="*/ 55902 h 65548"/>
                <a:gd name="connsiteX2" fmla="*/ 47120 w 67361"/>
                <a:gd name="connsiteY2" fmla="*/ 62965 h 65548"/>
                <a:gd name="connsiteX3" fmla="*/ 33586 w 67361"/>
                <a:gd name="connsiteY3" fmla="*/ 65548 h 65548"/>
                <a:gd name="connsiteX4" fmla="*/ 20100 w 67361"/>
                <a:gd name="connsiteY4" fmla="*/ 62965 h 65548"/>
                <a:gd name="connsiteX5" fmla="*/ 9457 w 67361"/>
                <a:gd name="connsiteY5" fmla="*/ 55996 h 65548"/>
                <a:gd name="connsiteX6" fmla="*/ 2489 w 67361"/>
                <a:gd name="connsiteY6" fmla="*/ 45674 h 65548"/>
                <a:gd name="connsiteX7" fmla="*/ 0 w 67361"/>
                <a:gd name="connsiteY7" fmla="*/ 32958 h 65548"/>
                <a:gd name="connsiteX8" fmla="*/ 0 w 67361"/>
                <a:gd name="connsiteY8" fmla="*/ 32780 h 65548"/>
                <a:gd name="connsiteX9" fmla="*/ 2536 w 67361"/>
                <a:gd name="connsiteY9" fmla="*/ 20064 h 65548"/>
                <a:gd name="connsiteX10" fmla="*/ 9552 w 67361"/>
                <a:gd name="connsiteY10" fmla="*/ 9647 h 65548"/>
                <a:gd name="connsiteX11" fmla="*/ 20242 w 67361"/>
                <a:gd name="connsiteY11" fmla="*/ 2584 h 65548"/>
                <a:gd name="connsiteX12" fmla="*/ 33776 w 67361"/>
                <a:gd name="connsiteY12" fmla="*/ 0 h 65548"/>
                <a:gd name="connsiteX13" fmla="*/ 47262 w 67361"/>
                <a:gd name="connsiteY13" fmla="*/ 2584 h 65548"/>
                <a:gd name="connsiteX14" fmla="*/ 57905 w 67361"/>
                <a:gd name="connsiteY14" fmla="*/ 9552 h 65548"/>
                <a:gd name="connsiteX15" fmla="*/ 64873 w 67361"/>
                <a:gd name="connsiteY15" fmla="*/ 19874 h 65548"/>
                <a:gd name="connsiteX16" fmla="*/ 67362 w 67361"/>
                <a:gd name="connsiteY16" fmla="*/ 32591 h 65548"/>
                <a:gd name="connsiteX17" fmla="*/ 67362 w 67361"/>
                <a:gd name="connsiteY17" fmla="*/ 32768 h 65548"/>
                <a:gd name="connsiteX18" fmla="*/ 64826 w 67361"/>
                <a:gd name="connsiteY18" fmla="*/ 45496 h 65548"/>
                <a:gd name="connsiteX19" fmla="*/ 52785 w 67361"/>
                <a:gd name="connsiteY19" fmla="*/ 32756 h 65548"/>
                <a:gd name="connsiteX20" fmla="*/ 51387 w 67361"/>
                <a:gd name="connsiteY20" fmla="*/ 25065 h 65548"/>
                <a:gd name="connsiteX21" fmla="*/ 47405 w 67361"/>
                <a:gd name="connsiteY21" fmla="*/ 18725 h 65548"/>
                <a:gd name="connsiteX22" fmla="*/ 41289 w 67361"/>
                <a:gd name="connsiteY22" fmla="*/ 14423 h 65548"/>
                <a:gd name="connsiteX23" fmla="*/ 33598 w 67361"/>
                <a:gd name="connsiteY23" fmla="*/ 12835 h 65548"/>
                <a:gd name="connsiteX24" fmla="*/ 25859 w 67361"/>
                <a:gd name="connsiteY24" fmla="*/ 14375 h 65548"/>
                <a:gd name="connsiteX25" fmla="*/ 19886 w 67361"/>
                <a:gd name="connsiteY25" fmla="*/ 18630 h 65548"/>
                <a:gd name="connsiteX26" fmla="*/ 15987 w 67361"/>
                <a:gd name="connsiteY26" fmla="*/ 24923 h 65548"/>
                <a:gd name="connsiteX27" fmla="*/ 14589 w 67361"/>
                <a:gd name="connsiteY27" fmla="*/ 32579 h 65548"/>
                <a:gd name="connsiteX28" fmla="*/ 14589 w 67361"/>
                <a:gd name="connsiteY28" fmla="*/ 32756 h 65548"/>
                <a:gd name="connsiteX29" fmla="*/ 15987 w 67361"/>
                <a:gd name="connsiteY29" fmla="*/ 40448 h 65548"/>
                <a:gd name="connsiteX30" fmla="*/ 19969 w 67361"/>
                <a:gd name="connsiteY30" fmla="*/ 46788 h 65548"/>
                <a:gd name="connsiteX31" fmla="*/ 26037 w 67361"/>
                <a:gd name="connsiteY31" fmla="*/ 51090 h 65548"/>
                <a:gd name="connsiteX32" fmla="*/ 33776 w 67361"/>
                <a:gd name="connsiteY32" fmla="*/ 52678 h 65548"/>
                <a:gd name="connsiteX33" fmla="*/ 41467 w 67361"/>
                <a:gd name="connsiteY33" fmla="*/ 51138 h 65548"/>
                <a:gd name="connsiteX34" fmla="*/ 47488 w 67361"/>
                <a:gd name="connsiteY34" fmla="*/ 46883 h 65548"/>
                <a:gd name="connsiteX35" fmla="*/ 51387 w 67361"/>
                <a:gd name="connsiteY35" fmla="*/ 40590 h 65548"/>
                <a:gd name="connsiteX36" fmla="*/ 52785 w 67361"/>
                <a:gd name="connsiteY36" fmla="*/ 32934 h 65548"/>
                <a:gd name="connsiteX37" fmla="*/ 52785 w 67361"/>
                <a:gd name="connsiteY37" fmla="*/ 32756 h 65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7361" h="65548">
                  <a:moveTo>
                    <a:pt x="64826" y="45485"/>
                  </a:moveTo>
                  <a:cubicBezTo>
                    <a:pt x="63131" y="49443"/>
                    <a:pt x="60796" y="52903"/>
                    <a:pt x="57810" y="55902"/>
                  </a:cubicBezTo>
                  <a:cubicBezTo>
                    <a:pt x="54823" y="58900"/>
                    <a:pt x="51256" y="61247"/>
                    <a:pt x="47120" y="62965"/>
                  </a:cubicBezTo>
                  <a:cubicBezTo>
                    <a:pt x="42984" y="64683"/>
                    <a:pt x="38469" y="65548"/>
                    <a:pt x="33586" y="65548"/>
                  </a:cubicBezTo>
                  <a:cubicBezTo>
                    <a:pt x="28703" y="65548"/>
                    <a:pt x="24200" y="64683"/>
                    <a:pt x="20100" y="62965"/>
                  </a:cubicBezTo>
                  <a:cubicBezTo>
                    <a:pt x="15999" y="61247"/>
                    <a:pt x="12444" y="58924"/>
                    <a:pt x="9457" y="55996"/>
                  </a:cubicBezTo>
                  <a:cubicBezTo>
                    <a:pt x="6471" y="53069"/>
                    <a:pt x="4148" y="49632"/>
                    <a:pt x="2489" y="45674"/>
                  </a:cubicBezTo>
                  <a:cubicBezTo>
                    <a:pt x="830" y="41716"/>
                    <a:pt x="0" y="37485"/>
                    <a:pt x="0" y="32958"/>
                  </a:cubicBezTo>
                  <a:lnTo>
                    <a:pt x="0" y="32780"/>
                  </a:lnTo>
                  <a:cubicBezTo>
                    <a:pt x="0" y="28253"/>
                    <a:pt x="841" y="24010"/>
                    <a:pt x="2536" y="20064"/>
                  </a:cubicBezTo>
                  <a:cubicBezTo>
                    <a:pt x="4231" y="16118"/>
                    <a:pt x="6566" y="12645"/>
                    <a:pt x="9552" y="9647"/>
                  </a:cubicBezTo>
                  <a:cubicBezTo>
                    <a:pt x="12539" y="6660"/>
                    <a:pt x="16106" y="4302"/>
                    <a:pt x="20242" y="2584"/>
                  </a:cubicBezTo>
                  <a:cubicBezTo>
                    <a:pt x="24378" y="865"/>
                    <a:pt x="28893" y="0"/>
                    <a:pt x="33776" y="0"/>
                  </a:cubicBezTo>
                  <a:cubicBezTo>
                    <a:pt x="38658" y="0"/>
                    <a:pt x="43162" y="865"/>
                    <a:pt x="47262" y="2584"/>
                  </a:cubicBezTo>
                  <a:cubicBezTo>
                    <a:pt x="51363" y="4302"/>
                    <a:pt x="54918" y="6625"/>
                    <a:pt x="57905" y="9552"/>
                  </a:cubicBezTo>
                  <a:cubicBezTo>
                    <a:pt x="60891" y="12479"/>
                    <a:pt x="63214" y="15916"/>
                    <a:pt x="64873" y="19874"/>
                  </a:cubicBezTo>
                  <a:cubicBezTo>
                    <a:pt x="66532" y="23833"/>
                    <a:pt x="67362" y="28063"/>
                    <a:pt x="67362" y="32591"/>
                  </a:cubicBezTo>
                  <a:lnTo>
                    <a:pt x="67362" y="32768"/>
                  </a:lnTo>
                  <a:cubicBezTo>
                    <a:pt x="67362" y="37295"/>
                    <a:pt x="66520" y="41538"/>
                    <a:pt x="64826" y="45496"/>
                  </a:cubicBezTo>
                  <a:close/>
                  <a:moveTo>
                    <a:pt x="52785" y="32756"/>
                  </a:moveTo>
                  <a:cubicBezTo>
                    <a:pt x="52785" y="30043"/>
                    <a:pt x="52323" y="27471"/>
                    <a:pt x="51387" y="25065"/>
                  </a:cubicBezTo>
                  <a:cubicBezTo>
                    <a:pt x="50450" y="22647"/>
                    <a:pt x="49123" y="20538"/>
                    <a:pt x="47405" y="18725"/>
                  </a:cubicBezTo>
                  <a:cubicBezTo>
                    <a:pt x="45686" y="16912"/>
                    <a:pt x="43648" y="15478"/>
                    <a:pt x="41289" y="14423"/>
                  </a:cubicBezTo>
                  <a:cubicBezTo>
                    <a:pt x="38931" y="13368"/>
                    <a:pt x="36371" y="12835"/>
                    <a:pt x="33598" y="12835"/>
                  </a:cubicBezTo>
                  <a:cubicBezTo>
                    <a:pt x="30825" y="12835"/>
                    <a:pt x="28182" y="13344"/>
                    <a:pt x="25859" y="14375"/>
                  </a:cubicBezTo>
                  <a:cubicBezTo>
                    <a:pt x="23536" y="15406"/>
                    <a:pt x="21545" y="16817"/>
                    <a:pt x="19886" y="18630"/>
                  </a:cubicBezTo>
                  <a:cubicBezTo>
                    <a:pt x="18227" y="20443"/>
                    <a:pt x="16923" y="22541"/>
                    <a:pt x="15987" y="24923"/>
                  </a:cubicBezTo>
                  <a:cubicBezTo>
                    <a:pt x="15051" y="27305"/>
                    <a:pt x="14589" y="29853"/>
                    <a:pt x="14589" y="32579"/>
                  </a:cubicBezTo>
                  <a:lnTo>
                    <a:pt x="14589" y="32756"/>
                  </a:lnTo>
                  <a:cubicBezTo>
                    <a:pt x="14589" y="35470"/>
                    <a:pt x="15051" y="38042"/>
                    <a:pt x="15987" y="40448"/>
                  </a:cubicBezTo>
                  <a:cubicBezTo>
                    <a:pt x="16923" y="42865"/>
                    <a:pt x="18251" y="44975"/>
                    <a:pt x="19969" y="46788"/>
                  </a:cubicBezTo>
                  <a:cubicBezTo>
                    <a:pt x="21688" y="48601"/>
                    <a:pt x="23714" y="50035"/>
                    <a:pt x="26037" y="51090"/>
                  </a:cubicBezTo>
                  <a:cubicBezTo>
                    <a:pt x="28360" y="52145"/>
                    <a:pt x="30943" y="52678"/>
                    <a:pt x="33776" y="52678"/>
                  </a:cubicBezTo>
                  <a:cubicBezTo>
                    <a:pt x="36608" y="52678"/>
                    <a:pt x="39121" y="52169"/>
                    <a:pt x="41467" y="51138"/>
                  </a:cubicBezTo>
                  <a:cubicBezTo>
                    <a:pt x="43826" y="50106"/>
                    <a:pt x="45828" y="48696"/>
                    <a:pt x="47488" y="46883"/>
                  </a:cubicBezTo>
                  <a:cubicBezTo>
                    <a:pt x="49147" y="45070"/>
                    <a:pt x="50450" y="42972"/>
                    <a:pt x="51387" y="40590"/>
                  </a:cubicBezTo>
                  <a:cubicBezTo>
                    <a:pt x="52323" y="38208"/>
                    <a:pt x="52785" y="35660"/>
                    <a:pt x="52785" y="32934"/>
                  </a:cubicBezTo>
                  <a:lnTo>
                    <a:pt x="52785" y="32756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D1941B7B-BE50-E924-38B4-0F297BA3C484}"/>
                </a:ext>
              </a:extLst>
            </p:cNvPr>
            <p:cNvSpPr/>
            <p:nvPr/>
          </p:nvSpPr>
          <p:spPr>
            <a:xfrm>
              <a:off x="1976552" y="6590654"/>
              <a:ext cx="67361" cy="65548"/>
            </a:xfrm>
            <a:custGeom>
              <a:avLst/>
              <a:gdLst>
                <a:gd name="connsiteX0" fmla="*/ 64826 w 67361"/>
                <a:gd name="connsiteY0" fmla="*/ 45485 h 65548"/>
                <a:gd name="connsiteX1" fmla="*/ 57810 w 67361"/>
                <a:gd name="connsiteY1" fmla="*/ 55902 h 65548"/>
                <a:gd name="connsiteX2" fmla="*/ 47120 w 67361"/>
                <a:gd name="connsiteY2" fmla="*/ 62965 h 65548"/>
                <a:gd name="connsiteX3" fmla="*/ 33586 w 67361"/>
                <a:gd name="connsiteY3" fmla="*/ 65548 h 65548"/>
                <a:gd name="connsiteX4" fmla="*/ 20099 w 67361"/>
                <a:gd name="connsiteY4" fmla="*/ 62965 h 65548"/>
                <a:gd name="connsiteX5" fmla="*/ 9457 w 67361"/>
                <a:gd name="connsiteY5" fmla="*/ 55996 h 65548"/>
                <a:gd name="connsiteX6" fmla="*/ 2489 w 67361"/>
                <a:gd name="connsiteY6" fmla="*/ 45674 h 65548"/>
                <a:gd name="connsiteX7" fmla="*/ 0 w 67361"/>
                <a:gd name="connsiteY7" fmla="*/ 32958 h 65548"/>
                <a:gd name="connsiteX8" fmla="*/ 0 w 67361"/>
                <a:gd name="connsiteY8" fmla="*/ 32780 h 65548"/>
                <a:gd name="connsiteX9" fmla="*/ 2536 w 67361"/>
                <a:gd name="connsiteY9" fmla="*/ 20064 h 65548"/>
                <a:gd name="connsiteX10" fmla="*/ 9552 w 67361"/>
                <a:gd name="connsiteY10" fmla="*/ 9647 h 65548"/>
                <a:gd name="connsiteX11" fmla="*/ 20242 w 67361"/>
                <a:gd name="connsiteY11" fmla="*/ 2584 h 65548"/>
                <a:gd name="connsiteX12" fmla="*/ 33776 w 67361"/>
                <a:gd name="connsiteY12" fmla="*/ 0 h 65548"/>
                <a:gd name="connsiteX13" fmla="*/ 47262 w 67361"/>
                <a:gd name="connsiteY13" fmla="*/ 2584 h 65548"/>
                <a:gd name="connsiteX14" fmla="*/ 57905 w 67361"/>
                <a:gd name="connsiteY14" fmla="*/ 9552 h 65548"/>
                <a:gd name="connsiteX15" fmla="*/ 64873 w 67361"/>
                <a:gd name="connsiteY15" fmla="*/ 19874 h 65548"/>
                <a:gd name="connsiteX16" fmla="*/ 67362 w 67361"/>
                <a:gd name="connsiteY16" fmla="*/ 32591 h 65548"/>
                <a:gd name="connsiteX17" fmla="*/ 67362 w 67361"/>
                <a:gd name="connsiteY17" fmla="*/ 32768 h 65548"/>
                <a:gd name="connsiteX18" fmla="*/ 64826 w 67361"/>
                <a:gd name="connsiteY18" fmla="*/ 45496 h 65548"/>
                <a:gd name="connsiteX19" fmla="*/ 52785 w 67361"/>
                <a:gd name="connsiteY19" fmla="*/ 32756 h 65548"/>
                <a:gd name="connsiteX20" fmla="*/ 51387 w 67361"/>
                <a:gd name="connsiteY20" fmla="*/ 25065 h 65548"/>
                <a:gd name="connsiteX21" fmla="*/ 47405 w 67361"/>
                <a:gd name="connsiteY21" fmla="*/ 18725 h 65548"/>
                <a:gd name="connsiteX22" fmla="*/ 41289 w 67361"/>
                <a:gd name="connsiteY22" fmla="*/ 14423 h 65548"/>
                <a:gd name="connsiteX23" fmla="*/ 33598 w 67361"/>
                <a:gd name="connsiteY23" fmla="*/ 12835 h 65548"/>
                <a:gd name="connsiteX24" fmla="*/ 25859 w 67361"/>
                <a:gd name="connsiteY24" fmla="*/ 14375 h 65548"/>
                <a:gd name="connsiteX25" fmla="*/ 19886 w 67361"/>
                <a:gd name="connsiteY25" fmla="*/ 18630 h 65548"/>
                <a:gd name="connsiteX26" fmla="*/ 15987 w 67361"/>
                <a:gd name="connsiteY26" fmla="*/ 24923 h 65548"/>
                <a:gd name="connsiteX27" fmla="*/ 14589 w 67361"/>
                <a:gd name="connsiteY27" fmla="*/ 32579 h 65548"/>
                <a:gd name="connsiteX28" fmla="*/ 14589 w 67361"/>
                <a:gd name="connsiteY28" fmla="*/ 32756 h 65548"/>
                <a:gd name="connsiteX29" fmla="*/ 15987 w 67361"/>
                <a:gd name="connsiteY29" fmla="*/ 40448 h 65548"/>
                <a:gd name="connsiteX30" fmla="*/ 19969 w 67361"/>
                <a:gd name="connsiteY30" fmla="*/ 46788 h 65548"/>
                <a:gd name="connsiteX31" fmla="*/ 26037 w 67361"/>
                <a:gd name="connsiteY31" fmla="*/ 51090 h 65548"/>
                <a:gd name="connsiteX32" fmla="*/ 33776 w 67361"/>
                <a:gd name="connsiteY32" fmla="*/ 52678 h 65548"/>
                <a:gd name="connsiteX33" fmla="*/ 41467 w 67361"/>
                <a:gd name="connsiteY33" fmla="*/ 51138 h 65548"/>
                <a:gd name="connsiteX34" fmla="*/ 47487 w 67361"/>
                <a:gd name="connsiteY34" fmla="*/ 46883 h 65548"/>
                <a:gd name="connsiteX35" fmla="*/ 51387 w 67361"/>
                <a:gd name="connsiteY35" fmla="*/ 40590 h 65548"/>
                <a:gd name="connsiteX36" fmla="*/ 52785 w 67361"/>
                <a:gd name="connsiteY36" fmla="*/ 32934 h 65548"/>
                <a:gd name="connsiteX37" fmla="*/ 52785 w 67361"/>
                <a:gd name="connsiteY37" fmla="*/ 32756 h 65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7361" h="65548">
                  <a:moveTo>
                    <a:pt x="64826" y="45485"/>
                  </a:moveTo>
                  <a:cubicBezTo>
                    <a:pt x="63131" y="49443"/>
                    <a:pt x="60796" y="52903"/>
                    <a:pt x="57810" y="55902"/>
                  </a:cubicBezTo>
                  <a:cubicBezTo>
                    <a:pt x="54823" y="58900"/>
                    <a:pt x="51256" y="61247"/>
                    <a:pt x="47120" y="62965"/>
                  </a:cubicBezTo>
                  <a:cubicBezTo>
                    <a:pt x="42984" y="64683"/>
                    <a:pt x="38469" y="65548"/>
                    <a:pt x="33586" y="65548"/>
                  </a:cubicBezTo>
                  <a:cubicBezTo>
                    <a:pt x="28703" y="65548"/>
                    <a:pt x="24200" y="64683"/>
                    <a:pt x="20099" y="62965"/>
                  </a:cubicBezTo>
                  <a:cubicBezTo>
                    <a:pt x="15999" y="61247"/>
                    <a:pt x="12444" y="58924"/>
                    <a:pt x="9457" y="55996"/>
                  </a:cubicBezTo>
                  <a:cubicBezTo>
                    <a:pt x="6471" y="53069"/>
                    <a:pt x="4148" y="49632"/>
                    <a:pt x="2489" y="45674"/>
                  </a:cubicBezTo>
                  <a:cubicBezTo>
                    <a:pt x="830" y="41716"/>
                    <a:pt x="0" y="37485"/>
                    <a:pt x="0" y="32958"/>
                  </a:cubicBezTo>
                  <a:lnTo>
                    <a:pt x="0" y="32780"/>
                  </a:lnTo>
                  <a:cubicBezTo>
                    <a:pt x="0" y="28253"/>
                    <a:pt x="841" y="24010"/>
                    <a:pt x="2536" y="20064"/>
                  </a:cubicBezTo>
                  <a:cubicBezTo>
                    <a:pt x="4231" y="16118"/>
                    <a:pt x="6566" y="12645"/>
                    <a:pt x="9552" y="9647"/>
                  </a:cubicBezTo>
                  <a:cubicBezTo>
                    <a:pt x="12538" y="6660"/>
                    <a:pt x="16106" y="4302"/>
                    <a:pt x="20242" y="2584"/>
                  </a:cubicBezTo>
                  <a:cubicBezTo>
                    <a:pt x="24378" y="865"/>
                    <a:pt x="28893" y="0"/>
                    <a:pt x="33776" y="0"/>
                  </a:cubicBezTo>
                  <a:cubicBezTo>
                    <a:pt x="38658" y="0"/>
                    <a:pt x="43162" y="865"/>
                    <a:pt x="47262" y="2584"/>
                  </a:cubicBezTo>
                  <a:cubicBezTo>
                    <a:pt x="51363" y="4302"/>
                    <a:pt x="54918" y="6625"/>
                    <a:pt x="57905" y="9552"/>
                  </a:cubicBezTo>
                  <a:cubicBezTo>
                    <a:pt x="60891" y="12479"/>
                    <a:pt x="63214" y="15916"/>
                    <a:pt x="64873" y="19874"/>
                  </a:cubicBezTo>
                  <a:cubicBezTo>
                    <a:pt x="66532" y="23833"/>
                    <a:pt x="67362" y="28063"/>
                    <a:pt x="67362" y="32591"/>
                  </a:cubicBezTo>
                  <a:lnTo>
                    <a:pt x="67362" y="32768"/>
                  </a:lnTo>
                  <a:cubicBezTo>
                    <a:pt x="67362" y="37295"/>
                    <a:pt x="66520" y="41538"/>
                    <a:pt x="64826" y="45496"/>
                  </a:cubicBezTo>
                  <a:close/>
                  <a:moveTo>
                    <a:pt x="52785" y="32756"/>
                  </a:moveTo>
                  <a:cubicBezTo>
                    <a:pt x="52785" y="30043"/>
                    <a:pt x="52323" y="27471"/>
                    <a:pt x="51387" y="25065"/>
                  </a:cubicBezTo>
                  <a:cubicBezTo>
                    <a:pt x="50450" y="22647"/>
                    <a:pt x="49123" y="20538"/>
                    <a:pt x="47405" y="18725"/>
                  </a:cubicBezTo>
                  <a:cubicBezTo>
                    <a:pt x="45686" y="16912"/>
                    <a:pt x="43648" y="15478"/>
                    <a:pt x="41289" y="14423"/>
                  </a:cubicBezTo>
                  <a:cubicBezTo>
                    <a:pt x="38931" y="13368"/>
                    <a:pt x="36371" y="12835"/>
                    <a:pt x="33598" y="12835"/>
                  </a:cubicBezTo>
                  <a:cubicBezTo>
                    <a:pt x="30825" y="12835"/>
                    <a:pt x="28182" y="13344"/>
                    <a:pt x="25859" y="14375"/>
                  </a:cubicBezTo>
                  <a:cubicBezTo>
                    <a:pt x="23536" y="15406"/>
                    <a:pt x="21545" y="16817"/>
                    <a:pt x="19886" y="18630"/>
                  </a:cubicBezTo>
                  <a:cubicBezTo>
                    <a:pt x="18227" y="20443"/>
                    <a:pt x="16923" y="22541"/>
                    <a:pt x="15987" y="24923"/>
                  </a:cubicBezTo>
                  <a:cubicBezTo>
                    <a:pt x="15051" y="27305"/>
                    <a:pt x="14589" y="29853"/>
                    <a:pt x="14589" y="32579"/>
                  </a:cubicBezTo>
                  <a:lnTo>
                    <a:pt x="14589" y="32756"/>
                  </a:lnTo>
                  <a:cubicBezTo>
                    <a:pt x="14589" y="35470"/>
                    <a:pt x="15051" y="38042"/>
                    <a:pt x="15987" y="40448"/>
                  </a:cubicBezTo>
                  <a:cubicBezTo>
                    <a:pt x="16923" y="42865"/>
                    <a:pt x="18251" y="44975"/>
                    <a:pt x="19969" y="46788"/>
                  </a:cubicBezTo>
                  <a:cubicBezTo>
                    <a:pt x="21688" y="48601"/>
                    <a:pt x="23714" y="50035"/>
                    <a:pt x="26037" y="51090"/>
                  </a:cubicBezTo>
                  <a:cubicBezTo>
                    <a:pt x="28360" y="52145"/>
                    <a:pt x="30943" y="52678"/>
                    <a:pt x="33776" y="52678"/>
                  </a:cubicBezTo>
                  <a:cubicBezTo>
                    <a:pt x="36608" y="52678"/>
                    <a:pt x="39121" y="52169"/>
                    <a:pt x="41467" y="51138"/>
                  </a:cubicBezTo>
                  <a:cubicBezTo>
                    <a:pt x="43825" y="50106"/>
                    <a:pt x="45828" y="48696"/>
                    <a:pt x="47487" y="46883"/>
                  </a:cubicBezTo>
                  <a:cubicBezTo>
                    <a:pt x="49147" y="45070"/>
                    <a:pt x="50450" y="42972"/>
                    <a:pt x="51387" y="40590"/>
                  </a:cubicBezTo>
                  <a:cubicBezTo>
                    <a:pt x="52323" y="38208"/>
                    <a:pt x="52785" y="35660"/>
                    <a:pt x="52785" y="32934"/>
                  </a:cubicBezTo>
                  <a:lnTo>
                    <a:pt x="52785" y="32756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73DBD54D-A2C7-C872-815C-C8E5EC00A19F}"/>
                </a:ext>
              </a:extLst>
            </p:cNvPr>
            <p:cNvSpPr/>
            <p:nvPr/>
          </p:nvSpPr>
          <p:spPr>
            <a:xfrm>
              <a:off x="2045181" y="6591543"/>
              <a:ext cx="96183" cy="64019"/>
            </a:xfrm>
            <a:custGeom>
              <a:avLst/>
              <a:gdLst>
                <a:gd name="connsiteX0" fmla="*/ 74520 w 96183"/>
                <a:gd name="connsiteY0" fmla="*/ 64020 h 64019"/>
                <a:gd name="connsiteX1" fmla="*/ 62384 w 96183"/>
                <a:gd name="connsiteY1" fmla="*/ 64020 h 64019"/>
                <a:gd name="connsiteX2" fmla="*/ 48080 w 96183"/>
                <a:gd name="connsiteY2" fmla="*/ 22553 h 64019"/>
                <a:gd name="connsiteX3" fmla="*/ 33776 w 96183"/>
                <a:gd name="connsiteY3" fmla="*/ 64020 h 64019"/>
                <a:gd name="connsiteX4" fmla="*/ 21640 w 96183"/>
                <a:gd name="connsiteY4" fmla="*/ 64020 h 64019"/>
                <a:gd name="connsiteX5" fmla="*/ 0 w 96183"/>
                <a:gd name="connsiteY5" fmla="*/ 190 h 64019"/>
                <a:gd name="connsiteX6" fmla="*/ 14944 w 96183"/>
                <a:gd name="connsiteY6" fmla="*/ 190 h 64019"/>
                <a:gd name="connsiteX7" fmla="*/ 28075 w 96183"/>
                <a:gd name="connsiteY7" fmla="*/ 43102 h 64019"/>
                <a:gd name="connsiteX8" fmla="*/ 42297 w 96183"/>
                <a:gd name="connsiteY8" fmla="*/ 0 h 64019"/>
                <a:gd name="connsiteX9" fmla="*/ 54254 w 96183"/>
                <a:gd name="connsiteY9" fmla="*/ 0 h 64019"/>
                <a:gd name="connsiteX10" fmla="*/ 68476 w 96183"/>
                <a:gd name="connsiteY10" fmla="*/ 43102 h 64019"/>
                <a:gd name="connsiteX11" fmla="*/ 81607 w 96183"/>
                <a:gd name="connsiteY11" fmla="*/ 190 h 64019"/>
                <a:gd name="connsiteX12" fmla="*/ 96184 w 96183"/>
                <a:gd name="connsiteY12" fmla="*/ 190 h 64019"/>
                <a:gd name="connsiteX13" fmla="*/ 74544 w 96183"/>
                <a:gd name="connsiteY13" fmla="*/ 64020 h 6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6183" h="64019">
                  <a:moveTo>
                    <a:pt x="74520" y="64020"/>
                  </a:moveTo>
                  <a:lnTo>
                    <a:pt x="62384" y="64020"/>
                  </a:lnTo>
                  <a:lnTo>
                    <a:pt x="48080" y="22553"/>
                  </a:lnTo>
                  <a:lnTo>
                    <a:pt x="33776" y="64020"/>
                  </a:lnTo>
                  <a:lnTo>
                    <a:pt x="21640" y="64020"/>
                  </a:lnTo>
                  <a:lnTo>
                    <a:pt x="0" y="190"/>
                  </a:lnTo>
                  <a:lnTo>
                    <a:pt x="14944" y="190"/>
                  </a:lnTo>
                  <a:lnTo>
                    <a:pt x="28075" y="43102"/>
                  </a:lnTo>
                  <a:lnTo>
                    <a:pt x="42297" y="0"/>
                  </a:lnTo>
                  <a:lnTo>
                    <a:pt x="54254" y="0"/>
                  </a:lnTo>
                  <a:lnTo>
                    <a:pt x="68476" y="43102"/>
                  </a:lnTo>
                  <a:lnTo>
                    <a:pt x="81607" y="190"/>
                  </a:lnTo>
                  <a:lnTo>
                    <a:pt x="96184" y="190"/>
                  </a:lnTo>
                  <a:lnTo>
                    <a:pt x="74544" y="64020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04EC2B7B-F418-15DD-D375-D2E89355B8A4}"/>
                </a:ext>
              </a:extLst>
            </p:cNvPr>
            <p:cNvSpPr/>
            <p:nvPr/>
          </p:nvSpPr>
          <p:spPr>
            <a:xfrm>
              <a:off x="1847244" y="6591863"/>
              <a:ext cx="54787" cy="63379"/>
            </a:xfrm>
            <a:custGeom>
              <a:avLst/>
              <a:gdLst>
                <a:gd name="connsiteX0" fmla="*/ 36004 w 54787"/>
                <a:gd name="connsiteY0" fmla="*/ 40744 h 63379"/>
                <a:gd name="connsiteX1" fmla="*/ 49123 w 54787"/>
                <a:gd name="connsiteY1" fmla="*/ 33633 h 63379"/>
                <a:gd name="connsiteX2" fmla="*/ 52880 w 54787"/>
                <a:gd name="connsiteY2" fmla="*/ 21095 h 63379"/>
                <a:gd name="connsiteX3" fmla="*/ 52880 w 54787"/>
                <a:gd name="connsiteY3" fmla="*/ 20917 h 63379"/>
                <a:gd name="connsiteX4" fmla="*/ 46587 w 54787"/>
                <a:gd name="connsiteY4" fmla="*/ 5523 h 63379"/>
                <a:gd name="connsiteX5" fmla="*/ 28976 w 54787"/>
                <a:gd name="connsiteY5" fmla="*/ 0 h 63379"/>
                <a:gd name="connsiteX6" fmla="*/ 0 w 54787"/>
                <a:gd name="connsiteY6" fmla="*/ 0 h 63379"/>
                <a:gd name="connsiteX7" fmla="*/ 0 w 54787"/>
                <a:gd name="connsiteY7" fmla="*/ 63380 h 63379"/>
                <a:gd name="connsiteX8" fmla="*/ 13949 w 54787"/>
                <a:gd name="connsiteY8" fmla="*/ 63380 h 63379"/>
                <a:gd name="connsiteX9" fmla="*/ 13949 w 54787"/>
                <a:gd name="connsiteY9" fmla="*/ 12586 h 63379"/>
                <a:gd name="connsiteX10" fmla="*/ 27803 w 54787"/>
                <a:gd name="connsiteY10" fmla="*/ 12586 h 63379"/>
                <a:gd name="connsiteX11" fmla="*/ 35862 w 54787"/>
                <a:gd name="connsiteY11" fmla="*/ 14849 h 63379"/>
                <a:gd name="connsiteX12" fmla="*/ 38765 w 54787"/>
                <a:gd name="connsiteY12" fmla="*/ 21640 h 63379"/>
                <a:gd name="connsiteX13" fmla="*/ 38765 w 54787"/>
                <a:gd name="connsiteY13" fmla="*/ 21818 h 63379"/>
                <a:gd name="connsiteX14" fmla="*/ 36004 w 54787"/>
                <a:gd name="connsiteY14" fmla="*/ 28336 h 63379"/>
                <a:gd name="connsiteX15" fmla="*/ 28075 w 54787"/>
                <a:gd name="connsiteY15" fmla="*/ 30777 h 63379"/>
                <a:gd name="connsiteX16" fmla="*/ 20941 w 54787"/>
                <a:gd name="connsiteY16" fmla="*/ 30777 h 63379"/>
                <a:gd name="connsiteX17" fmla="*/ 20941 w 54787"/>
                <a:gd name="connsiteY17" fmla="*/ 43091 h 63379"/>
                <a:gd name="connsiteX18" fmla="*/ 36122 w 54787"/>
                <a:gd name="connsiteY18" fmla="*/ 63368 h 63379"/>
                <a:gd name="connsiteX19" fmla="*/ 54788 w 54787"/>
                <a:gd name="connsiteY19" fmla="*/ 63368 h 63379"/>
                <a:gd name="connsiteX20" fmla="*/ 36004 w 54787"/>
                <a:gd name="connsiteY20" fmla="*/ 40732 h 63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4787" h="63379">
                  <a:moveTo>
                    <a:pt x="36004" y="40744"/>
                  </a:moveTo>
                  <a:cubicBezTo>
                    <a:pt x="43956" y="39038"/>
                    <a:pt x="46622" y="36869"/>
                    <a:pt x="49123" y="33633"/>
                  </a:cubicBezTo>
                  <a:cubicBezTo>
                    <a:pt x="51624" y="30398"/>
                    <a:pt x="52880" y="26227"/>
                    <a:pt x="52880" y="21095"/>
                  </a:cubicBezTo>
                  <a:lnTo>
                    <a:pt x="52880" y="20917"/>
                  </a:lnTo>
                  <a:cubicBezTo>
                    <a:pt x="52880" y="14340"/>
                    <a:pt x="50782" y="9208"/>
                    <a:pt x="46587" y="5523"/>
                  </a:cubicBezTo>
                  <a:cubicBezTo>
                    <a:pt x="42391" y="1837"/>
                    <a:pt x="36525" y="0"/>
                    <a:pt x="28976" y="0"/>
                  </a:cubicBezTo>
                  <a:lnTo>
                    <a:pt x="0" y="0"/>
                  </a:lnTo>
                  <a:lnTo>
                    <a:pt x="0" y="63380"/>
                  </a:lnTo>
                  <a:lnTo>
                    <a:pt x="13949" y="63380"/>
                  </a:lnTo>
                  <a:lnTo>
                    <a:pt x="13949" y="12586"/>
                  </a:lnTo>
                  <a:lnTo>
                    <a:pt x="27803" y="12586"/>
                  </a:lnTo>
                  <a:cubicBezTo>
                    <a:pt x="31240" y="12586"/>
                    <a:pt x="33930" y="13344"/>
                    <a:pt x="35862" y="14849"/>
                  </a:cubicBezTo>
                  <a:cubicBezTo>
                    <a:pt x="37793" y="16355"/>
                    <a:pt x="38765" y="18618"/>
                    <a:pt x="38765" y="21640"/>
                  </a:cubicBezTo>
                  <a:lnTo>
                    <a:pt x="38765" y="21818"/>
                  </a:lnTo>
                  <a:cubicBezTo>
                    <a:pt x="38765" y="24532"/>
                    <a:pt x="37841" y="26701"/>
                    <a:pt x="36004" y="28336"/>
                  </a:cubicBezTo>
                  <a:cubicBezTo>
                    <a:pt x="34167" y="29971"/>
                    <a:pt x="31524" y="30777"/>
                    <a:pt x="28075" y="30777"/>
                  </a:cubicBezTo>
                  <a:lnTo>
                    <a:pt x="20941" y="30777"/>
                  </a:lnTo>
                  <a:lnTo>
                    <a:pt x="20941" y="43091"/>
                  </a:lnTo>
                  <a:lnTo>
                    <a:pt x="36122" y="63368"/>
                  </a:lnTo>
                  <a:lnTo>
                    <a:pt x="54788" y="63368"/>
                  </a:lnTo>
                  <a:lnTo>
                    <a:pt x="36004" y="40732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84663B6E-4EAD-EB5A-10F7-16F8D3E5B053}"/>
                </a:ext>
              </a:extLst>
            </p:cNvPr>
            <p:cNvSpPr/>
            <p:nvPr/>
          </p:nvSpPr>
          <p:spPr>
            <a:xfrm>
              <a:off x="1913895" y="6591863"/>
              <a:ext cx="54787" cy="63379"/>
            </a:xfrm>
            <a:custGeom>
              <a:avLst/>
              <a:gdLst>
                <a:gd name="connsiteX0" fmla="*/ 36004 w 54787"/>
                <a:gd name="connsiteY0" fmla="*/ 40744 h 63379"/>
                <a:gd name="connsiteX1" fmla="*/ 49123 w 54787"/>
                <a:gd name="connsiteY1" fmla="*/ 33633 h 63379"/>
                <a:gd name="connsiteX2" fmla="*/ 52880 w 54787"/>
                <a:gd name="connsiteY2" fmla="*/ 21095 h 63379"/>
                <a:gd name="connsiteX3" fmla="*/ 52880 w 54787"/>
                <a:gd name="connsiteY3" fmla="*/ 20917 h 63379"/>
                <a:gd name="connsiteX4" fmla="*/ 46587 w 54787"/>
                <a:gd name="connsiteY4" fmla="*/ 5523 h 63379"/>
                <a:gd name="connsiteX5" fmla="*/ 28976 w 54787"/>
                <a:gd name="connsiteY5" fmla="*/ 0 h 63379"/>
                <a:gd name="connsiteX6" fmla="*/ 0 w 54787"/>
                <a:gd name="connsiteY6" fmla="*/ 0 h 63379"/>
                <a:gd name="connsiteX7" fmla="*/ 0 w 54787"/>
                <a:gd name="connsiteY7" fmla="*/ 63380 h 63379"/>
                <a:gd name="connsiteX8" fmla="*/ 13949 w 54787"/>
                <a:gd name="connsiteY8" fmla="*/ 63380 h 63379"/>
                <a:gd name="connsiteX9" fmla="*/ 13949 w 54787"/>
                <a:gd name="connsiteY9" fmla="*/ 12586 h 63379"/>
                <a:gd name="connsiteX10" fmla="*/ 27803 w 54787"/>
                <a:gd name="connsiteY10" fmla="*/ 12586 h 63379"/>
                <a:gd name="connsiteX11" fmla="*/ 35862 w 54787"/>
                <a:gd name="connsiteY11" fmla="*/ 14849 h 63379"/>
                <a:gd name="connsiteX12" fmla="*/ 38765 w 54787"/>
                <a:gd name="connsiteY12" fmla="*/ 21640 h 63379"/>
                <a:gd name="connsiteX13" fmla="*/ 38765 w 54787"/>
                <a:gd name="connsiteY13" fmla="*/ 21818 h 63379"/>
                <a:gd name="connsiteX14" fmla="*/ 36004 w 54787"/>
                <a:gd name="connsiteY14" fmla="*/ 28336 h 63379"/>
                <a:gd name="connsiteX15" fmla="*/ 28075 w 54787"/>
                <a:gd name="connsiteY15" fmla="*/ 30777 h 63379"/>
                <a:gd name="connsiteX16" fmla="*/ 20941 w 54787"/>
                <a:gd name="connsiteY16" fmla="*/ 30777 h 63379"/>
                <a:gd name="connsiteX17" fmla="*/ 20941 w 54787"/>
                <a:gd name="connsiteY17" fmla="*/ 43091 h 63379"/>
                <a:gd name="connsiteX18" fmla="*/ 36122 w 54787"/>
                <a:gd name="connsiteY18" fmla="*/ 63368 h 63379"/>
                <a:gd name="connsiteX19" fmla="*/ 54788 w 54787"/>
                <a:gd name="connsiteY19" fmla="*/ 63368 h 63379"/>
                <a:gd name="connsiteX20" fmla="*/ 36004 w 54787"/>
                <a:gd name="connsiteY20" fmla="*/ 40732 h 63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4787" h="63379">
                  <a:moveTo>
                    <a:pt x="36004" y="40744"/>
                  </a:moveTo>
                  <a:cubicBezTo>
                    <a:pt x="43956" y="39038"/>
                    <a:pt x="46622" y="36869"/>
                    <a:pt x="49123" y="33633"/>
                  </a:cubicBezTo>
                  <a:cubicBezTo>
                    <a:pt x="51624" y="30398"/>
                    <a:pt x="52880" y="26227"/>
                    <a:pt x="52880" y="21095"/>
                  </a:cubicBezTo>
                  <a:lnTo>
                    <a:pt x="52880" y="20917"/>
                  </a:lnTo>
                  <a:cubicBezTo>
                    <a:pt x="52880" y="14340"/>
                    <a:pt x="50782" y="9208"/>
                    <a:pt x="46587" y="5523"/>
                  </a:cubicBezTo>
                  <a:cubicBezTo>
                    <a:pt x="42391" y="1837"/>
                    <a:pt x="36525" y="0"/>
                    <a:pt x="28976" y="0"/>
                  </a:cubicBezTo>
                  <a:lnTo>
                    <a:pt x="0" y="0"/>
                  </a:lnTo>
                  <a:lnTo>
                    <a:pt x="0" y="63380"/>
                  </a:lnTo>
                  <a:lnTo>
                    <a:pt x="13949" y="63380"/>
                  </a:lnTo>
                  <a:lnTo>
                    <a:pt x="13949" y="12586"/>
                  </a:lnTo>
                  <a:lnTo>
                    <a:pt x="27803" y="12586"/>
                  </a:lnTo>
                  <a:cubicBezTo>
                    <a:pt x="31240" y="12586"/>
                    <a:pt x="33930" y="13344"/>
                    <a:pt x="35862" y="14849"/>
                  </a:cubicBezTo>
                  <a:cubicBezTo>
                    <a:pt x="37793" y="16355"/>
                    <a:pt x="38765" y="18618"/>
                    <a:pt x="38765" y="21640"/>
                  </a:cubicBezTo>
                  <a:lnTo>
                    <a:pt x="38765" y="21818"/>
                  </a:lnTo>
                  <a:cubicBezTo>
                    <a:pt x="38765" y="24532"/>
                    <a:pt x="37841" y="26701"/>
                    <a:pt x="36004" y="28336"/>
                  </a:cubicBezTo>
                  <a:cubicBezTo>
                    <a:pt x="34167" y="29971"/>
                    <a:pt x="31524" y="30777"/>
                    <a:pt x="28075" y="30777"/>
                  </a:cubicBezTo>
                  <a:lnTo>
                    <a:pt x="20941" y="30777"/>
                  </a:lnTo>
                  <a:lnTo>
                    <a:pt x="20941" y="43091"/>
                  </a:lnTo>
                  <a:lnTo>
                    <a:pt x="36122" y="63368"/>
                  </a:lnTo>
                  <a:lnTo>
                    <a:pt x="54788" y="63368"/>
                  </a:lnTo>
                  <a:lnTo>
                    <a:pt x="36004" y="40732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572E9370-2C59-6C38-5624-959AA96C2220}"/>
              </a:ext>
            </a:extLst>
          </p:cNvPr>
          <p:cNvSpPr txBox="1">
            <a:spLocks/>
          </p:cNvSpPr>
          <p:nvPr userDrawn="1"/>
        </p:nvSpPr>
        <p:spPr>
          <a:xfrm>
            <a:off x="10925833" y="6419828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1E3C"/>
                </a:solidFill>
                <a:effectLst/>
                <a:uLnTx/>
                <a:uFillTx/>
                <a:latin typeface="Avenir Next LT Pro" panose="020B05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1E3C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3" name="Title 13">
            <a:extLst>
              <a:ext uri="{FF2B5EF4-FFF2-40B4-BE49-F238E27FC236}">
                <a16:creationId xmlns:a16="http://schemas.microsoft.com/office/drawing/2014/main" id="{A7361FBB-0540-8BCE-21A9-E59B1DB509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891" y="346167"/>
            <a:ext cx="11556218" cy="70214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B145C9B-177B-F987-B685-07929ECDD518}"/>
              </a:ext>
            </a:extLst>
          </p:cNvPr>
          <p:cNvGrpSpPr/>
          <p:nvPr userDrawn="1"/>
        </p:nvGrpSpPr>
        <p:grpSpPr>
          <a:xfrm>
            <a:off x="289932" y="6281977"/>
            <a:ext cx="11584177" cy="129643"/>
            <a:chOff x="-20516" y="2052871"/>
            <a:chExt cx="17746191" cy="198605"/>
          </a:xfrm>
        </p:grpSpPr>
        <p:sp>
          <p:nvSpPr>
            <p:cNvPr id="6" name="AutoShape 24">
              <a:extLst>
                <a:ext uri="{FF2B5EF4-FFF2-40B4-BE49-F238E27FC236}">
                  <a16:creationId xmlns:a16="http://schemas.microsoft.com/office/drawing/2014/main" id="{EF51E8A0-E97C-D4C7-78B6-74F6D0B61674}"/>
                </a:ext>
              </a:extLst>
            </p:cNvPr>
            <p:cNvSpPr/>
            <p:nvPr/>
          </p:nvSpPr>
          <p:spPr>
            <a:xfrm flipV="1">
              <a:off x="1032935" y="2052871"/>
              <a:ext cx="16692740" cy="0"/>
            </a:xfrm>
            <a:prstGeom prst="line">
              <a:avLst/>
            </a:prstGeom>
            <a:ln w="28575" cap="flat">
              <a:solidFill>
                <a:schemeClr val="tx1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ZA">
                <a:solidFill>
                  <a:srgbClr val="1D428A"/>
                </a:solidFill>
              </a:endParaRPr>
            </a:p>
          </p:txBody>
        </p:sp>
        <p:sp>
          <p:nvSpPr>
            <p:cNvPr id="7" name="AutoShape 24">
              <a:extLst>
                <a:ext uri="{FF2B5EF4-FFF2-40B4-BE49-F238E27FC236}">
                  <a16:creationId xmlns:a16="http://schemas.microsoft.com/office/drawing/2014/main" id="{42557960-7C97-BBDE-948F-0570A148F2D8}"/>
                </a:ext>
              </a:extLst>
            </p:cNvPr>
            <p:cNvSpPr/>
            <p:nvPr/>
          </p:nvSpPr>
          <p:spPr>
            <a:xfrm flipV="1">
              <a:off x="-20516" y="2052877"/>
              <a:ext cx="927307" cy="0"/>
            </a:xfrm>
            <a:prstGeom prst="line">
              <a:avLst/>
            </a:prstGeom>
            <a:ln w="28575" cap="flat">
              <a:solidFill>
                <a:schemeClr val="tx1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ZA">
                <a:solidFill>
                  <a:srgbClr val="1D428A"/>
                </a:solidFill>
              </a:endParaRPr>
            </a:p>
          </p:txBody>
        </p:sp>
        <p:sp>
          <p:nvSpPr>
            <p:cNvPr id="8" name="AutoShape 24">
              <a:extLst>
                <a:ext uri="{FF2B5EF4-FFF2-40B4-BE49-F238E27FC236}">
                  <a16:creationId xmlns:a16="http://schemas.microsoft.com/office/drawing/2014/main" id="{869CDC40-15E2-6AB1-4E12-18DDF87AFA74}"/>
                </a:ext>
              </a:extLst>
            </p:cNvPr>
            <p:cNvSpPr/>
            <p:nvPr/>
          </p:nvSpPr>
          <p:spPr>
            <a:xfrm flipH="1" flipV="1">
              <a:off x="968334" y="2131093"/>
              <a:ext cx="0" cy="120383"/>
            </a:xfrm>
            <a:prstGeom prst="line">
              <a:avLst/>
            </a:prstGeom>
            <a:ln w="28575" cap="flat">
              <a:solidFill>
                <a:schemeClr val="tx1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ZA">
                <a:solidFill>
                  <a:srgbClr val="1D428A"/>
                </a:solidFill>
              </a:endParaRPr>
            </a:p>
          </p:txBody>
        </p:sp>
      </p:grp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2803DCCA-E54F-DBE6-F367-697EDB9EEB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7889" y="1050288"/>
            <a:ext cx="11556218" cy="3051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tabLst>
                <a:tab pos="1435100" algn="l"/>
              </a:tabLst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subheading tex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5C55FEA-C4CC-1BCA-C435-56F85AD26882}"/>
              </a:ext>
            </a:extLst>
          </p:cNvPr>
          <p:cNvSpPr txBox="1"/>
          <p:nvPr userDrawn="1"/>
        </p:nvSpPr>
        <p:spPr>
          <a:xfrm>
            <a:off x="3047114" y="6611779"/>
            <a:ext cx="609777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AU" sz="1000">
                <a:solidFill>
                  <a:schemeClr val="bg1">
                    <a:lumMod val="50000"/>
                  </a:schemeClr>
                </a:solidFill>
              </a:rPr>
              <a:t>CONFIDENTIAL MATERIAL – DO NOT DISTRIBUTE </a:t>
            </a:r>
          </a:p>
        </p:txBody>
      </p:sp>
    </p:spTree>
    <p:extLst>
      <p:ext uri="{BB962C8B-B14F-4D97-AF65-F5344CB8AC3E}">
        <p14:creationId xmlns:p14="http://schemas.microsoft.com/office/powerpoint/2010/main" val="1989601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B7082DA-8858-2766-569F-61154AC465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D428A"/>
          </a:solidFill>
          <a:ln w="9525" cap="flat">
            <a:noFill/>
            <a:prstDash val="solid"/>
            <a:headEnd type="none" w="sm" len="sm"/>
            <a:tailEnd type="none" w="sm" len="sm"/>
          </a:ln>
        </p:spPr>
        <p:txBody>
          <a:bodyPr rtlCol="0" anchor="ctr"/>
          <a:lstStyle/>
          <a:p>
            <a:pPr algn="l"/>
            <a:endParaRPr lang="en-ZA" sz="1200" baseline="-25000">
              <a:solidFill>
                <a:srgbClr val="1D428A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4" name="Title 13">
            <a:extLst>
              <a:ext uri="{FF2B5EF4-FFF2-40B4-BE49-F238E27FC236}">
                <a16:creationId xmlns:a16="http://schemas.microsoft.com/office/drawing/2014/main" id="{2A11156D-F49D-1E39-3FC7-399672F06B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891" y="346167"/>
            <a:ext cx="11556218" cy="70214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23" name="Slide Number Placeholder 2">
            <a:extLst>
              <a:ext uri="{FF2B5EF4-FFF2-40B4-BE49-F238E27FC236}">
                <a16:creationId xmlns:a16="http://schemas.microsoft.com/office/drawing/2014/main" id="{49BAAEBC-192C-B890-808D-BA73DB2715E5}"/>
              </a:ext>
            </a:extLst>
          </p:cNvPr>
          <p:cNvSpPr txBox="1">
            <a:spLocks/>
          </p:cNvSpPr>
          <p:nvPr userDrawn="1"/>
        </p:nvSpPr>
        <p:spPr>
          <a:xfrm>
            <a:off x="10925833" y="6419828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F4F9FD"/>
                </a:solidFill>
                <a:effectLst/>
                <a:uLnTx/>
                <a:uFillTx/>
                <a:latin typeface="Avenir Next LT Pro" panose="020B05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F4F9FD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grpSp>
        <p:nvGrpSpPr>
          <p:cNvPr id="24" name="Graphic 25">
            <a:extLst>
              <a:ext uri="{FF2B5EF4-FFF2-40B4-BE49-F238E27FC236}">
                <a16:creationId xmlns:a16="http://schemas.microsoft.com/office/drawing/2014/main" id="{53103999-9895-8A5B-A16B-45CBBDB3C691}"/>
              </a:ext>
            </a:extLst>
          </p:cNvPr>
          <p:cNvGrpSpPr/>
          <p:nvPr userDrawn="1"/>
        </p:nvGrpSpPr>
        <p:grpSpPr>
          <a:xfrm>
            <a:off x="641802" y="6483229"/>
            <a:ext cx="588657" cy="65548"/>
            <a:chOff x="1552708" y="6590654"/>
            <a:chExt cx="588657" cy="65548"/>
          </a:xfrm>
          <a:solidFill>
            <a:schemeClr val="bg1"/>
          </a:solidFill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4D8FDAFD-490A-2724-FB24-C4F7A3F7BFA1}"/>
                </a:ext>
              </a:extLst>
            </p:cNvPr>
            <p:cNvSpPr/>
            <p:nvPr/>
          </p:nvSpPr>
          <p:spPr>
            <a:xfrm>
              <a:off x="1552708" y="6591721"/>
              <a:ext cx="52512" cy="63379"/>
            </a:xfrm>
            <a:custGeom>
              <a:avLst/>
              <a:gdLst>
                <a:gd name="connsiteX0" fmla="*/ 33231 w 52512"/>
                <a:gd name="connsiteY0" fmla="*/ 12858 h 63379"/>
                <a:gd name="connsiteX1" fmla="*/ 33231 w 52512"/>
                <a:gd name="connsiteY1" fmla="*/ 63380 h 63379"/>
                <a:gd name="connsiteX2" fmla="*/ 19282 w 52512"/>
                <a:gd name="connsiteY2" fmla="*/ 63380 h 63379"/>
                <a:gd name="connsiteX3" fmla="*/ 19282 w 52512"/>
                <a:gd name="connsiteY3" fmla="*/ 12858 h 63379"/>
                <a:gd name="connsiteX4" fmla="*/ 0 w 52512"/>
                <a:gd name="connsiteY4" fmla="*/ 12858 h 63379"/>
                <a:gd name="connsiteX5" fmla="*/ 0 w 52512"/>
                <a:gd name="connsiteY5" fmla="*/ 0 h 63379"/>
                <a:gd name="connsiteX6" fmla="*/ 52512 w 52512"/>
                <a:gd name="connsiteY6" fmla="*/ 0 h 63379"/>
                <a:gd name="connsiteX7" fmla="*/ 52512 w 52512"/>
                <a:gd name="connsiteY7" fmla="*/ 12858 h 63379"/>
                <a:gd name="connsiteX8" fmla="*/ 33231 w 52512"/>
                <a:gd name="connsiteY8" fmla="*/ 12858 h 63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512" h="63379">
                  <a:moveTo>
                    <a:pt x="33231" y="12858"/>
                  </a:moveTo>
                  <a:lnTo>
                    <a:pt x="33231" y="63380"/>
                  </a:lnTo>
                  <a:lnTo>
                    <a:pt x="19282" y="63380"/>
                  </a:lnTo>
                  <a:lnTo>
                    <a:pt x="19282" y="12858"/>
                  </a:lnTo>
                  <a:lnTo>
                    <a:pt x="0" y="12858"/>
                  </a:lnTo>
                  <a:lnTo>
                    <a:pt x="0" y="0"/>
                  </a:lnTo>
                  <a:lnTo>
                    <a:pt x="52512" y="0"/>
                  </a:lnTo>
                  <a:lnTo>
                    <a:pt x="52512" y="12858"/>
                  </a:lnTo>
                  <a:lnTo>
                    <a:pt x="33231" y="12858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4BECF1E-3800-8EAB-1E44-6EADD0AB65E8}"/>
                </a:ext>
              </a:extLst>
            </p:cNvPr>
            <p:cNvSpPr/>
            <p:nvPr/>
          </p:nvSpPr>
          <p:spPr>
            <a:xfrm>
              <a:off x="1613113" y="6590654"/>
              <a:ext cx="67361" cy="65548"/>
            </a:xfrm>
            <a:custGeom>
              <a:avLst/>
              <a:gdLst>
                <a:gd name="connsiteX0" fmla="*/ 64826 w 67361"/>
                <a:gd name="connsiteY0" fmla="*/ 45485 h 65548"/>
                <a:gd name="connsiteX1" fmla="*/ 57810 w 67361"/>
                <a:gd name="connsiteY1" fmla="*/ 55902 h 65548"/>
                <a:gd name="connsiteX2" fmla="*/ 47120 w 67361"/>
                <a:gd name="connsiteY2" fmla="*/ 62965 h 65548"/>
                <a:gd name="connsiteX3" fmla="*/ 33586 w 67361"/>
                <a:gd name="connsiteY3" fmla="*/ 65548 h 65548"/>
                <a:gd name="connsiteX4" fmla="*/ 20100 w 67361"/>
                <a:gd name="connsiteY4" fmla="*/ 62965 h 65548"/>
                <a:gd name="connsiteX5" fmla="*/ 9457 w 67361"/>
                <a:gd name="connsiteY5" fmla="*/ 55996 h 65548"/>
                <a:gd name="connsiteX6" fmla="*/ 2489 w 67361"/>
                <a:gd name="connsiteY6" fmla="*/ 45674 h 65548"/>
                <a:gd name="connsiteX7" fmla="*/ 0 w 67361"/>
                <a:gd name="connsiteY7" fmla="*/ 32958 h 65548"/>
                <a:gd name="connsiteX8" fmla="*/ 0 w 67361"/>
                <a:gd name="connsiteY8" fmla="*/ 32780 h 65548"/>
                <a:gd name="connsiteX9" fmla="*/ 2536 w 67361"/>
                <a:gd name="connsiteY9" fmla="*/ 20064 h 65548"/>
                <a:gd name="connsiteX10" fmla="*/ 9552 w 67361"/>
                <a:gd name="connsiteY10" fmla="*/ 9647 h 65548"/>
                <a:gd name="connsiteX11" fmla="*/ 20242 w 67361"/>
                <a:gd name="connsiteY11" fmla="*/ 2584 h 65548"/>
                <a:gd name="connsiteX12" fmla="*/ 33776 w 67361"/>
                <a:gd name="connsiteY12" fmla="*/ 0 h 65548"/>
                <a:gd name="connsiteX13" fmla="*/ 47262 w 67361"/>
                <a:gd name="connsiteY13" fmla="*/ 2584 h 65548"/>
                <a:gd name="connsiteX14" fmla="*/ 57905 w 67361"/>
                <a:gd name="connsiteY14" fmla="*/ 9552 h 65548"/>
                <a:gd name="connsiteX15" fmla="*/ 64873 w 67361"/>
                <a:gd name="connsiteY15" fmla="*/ 19874 h 65548"/>
                <a:gd name="connsiteX16" fmla="*/ 67362 w 67361"/>
                <a:gd name="connsiteY16" fmla="*/ 32591 h 65548"/>
                <a:gd name="connsiteX17" fmla="*/ 67362 w 67361"/>
                <a:gd name="connsiteY17" fmla="*/ 32768 h 65548"/>
                <a:gd name="connsiteX18" fmla="*/ 64826 w 67361"/>
                <a:gd name="connsiteY18" fmla="*/ 45496 h 65548"/>
                <a:gd name="connsiteX19" fmla="*/ 52785 w 67361"/>
                <a:gd name="connsiteY19" fmla="*/ 32756 h 65548"/>
                <a:gd name="connsiteX20" fmla="*/ 51387 w 67361"/>
                <a:gd name="connsiteY20" fmla="*/ 25065 h 65548"/>
                <a:gd name="connsiteX21" fmla="*/ 47405 w 67361"/>
                <a:gd name="connsiteY21" fmla="*/ 18725 h 65548"/>
                <a:gd name="connsiteX22" fmla="*/ 41289 w 67361"/>
                <a:gd name="connsiteY22" fmla="*/ 14423 h 65548"/>
                <a:gd name="connsiteX23" fmla="*/ 33598 w 67361"/>
                <a:gd name="connsiteY23" fmla="*/ 12835 h 65548"/>
                <a:gd name="connsiteX24" fmla="*/ 25859 w 67361"/>
                <a:gd name="connsiteY24" fmla="*/ 14375 h 65548"/>
                <a:gd name="connsiteX25" fmla="*/ 19886 w 67361"/>
                <a:gd name="connsiteY25" fmla="*/ 18630 h 65548"/>
                <a:gd name="connsiteX26" fmla="*/ 15987 w 67361"/>
                <a:gd name="connsiteY26" fmla="*/ 24923 h 65548"/>
                <a:gd name="connsiteX27" fmla="*/ 14589 w 67361"/>
                <a:gd name="connsiteY27" fmla="*/ 32579 h 65548"/>
                <a:gd name="connsiteX28" fmla="*/ 14589 w 67361"/>
                <a:gd name="connsiteY28" fmla="*/ 32756 h 65548"/>
                <a:gd name="connsiteX29" fmla="*/ 15987 w 67361"/>
                <a:gd name="connsiteY29" fmla="*/ 40448 h 65548"/>
                <a:gd name="connsiteX30" fmla="*/ 19969 w 67361"/>
                <a:gd name="connsiteY30" fmla="*/ 46788 h 65548"/>
                <a:gd name="connsiteX31" fmla="*/ 26037 w 67361"/>
                <a:gd name="connsiteY31" fmla="*/ 51090 h 65548"/>
                <a:gd name="connsiteX32" fmla="*/ 33776 w 67361"/>
                <a:gd name="connsiteY32" fmla="*/ 52678 h 65548"/>
                <a:gd name="connsiteX33" fmla="*/ 41467 w 67361"/>
                <a:gd name="connsiteY33" fmla="*/ 51138 h 65548"/>
                <a:gd name="connsiteX34" fmla="*/ 47487 w 67361"/>
                <a:gd name="connsiteY34" fmla="*/ 46883 h 65548"/>
                <a:gd name="connsiteX35" fmla="*/ 51387 w 67361"/>
                <a:gd name="connsiteY35" fmla="*/ 40590 h 65548"/>
                <a:gd name="connsiteX36" fmla="*/ 52785 w 67361"/>
                <a:gd name="connsiteY36" fmla="*/ 32934 h 65548"/>
                <a:gd name="connsiteX37" fmla="*/ 52785 w 67361"/>
                <a:gd name="connsiteY37" fmla="*/ 32756 h 65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7361" h="65548">
                  <a:moveTo>
                    <a:pt x="64826" y="45485"/>
                  </a:moveTo>
                  <a:cubicBezTo>
                    <a:pt x="63131" y="49443"/>
                    <a:pt x="60796" y="52903"/>
                    <a:pt x="57810" y="55902"/>
                  </a:cubicBezTo>
                  <a:cubicBezTo>
                    <a:pt x="54823" y="58900"/>
                    <a:pt x="51256" y="61247"/>
                    <a:pt x="47120" y="62965"/>
                  </a:cubicBezTo>
                  <a:cubicBezTo>
                    <a:pt x="42984" y="64683"/>
                    <a:pt x="38469" y="65548"/>
                    <a:pt x="33586" y="65548"/>
                  </a:cubicBezTo>
                  <a:cubicBezTo>
                    <a:pt x="28703" y="65548"/>
                    <a:pt x="24200" y="64683"/>
                    <a:pt x="20100" y="62965"/>
                  </a:cubicBezTo>
                  <a:cubicBezTo>
                    <a:pt x="15999" y="61247"/>
                    <a:pt x="12444" y="58924"/>
                    <a:pt x="9457" y="55996"/>
                  </a:cubicBezTo>
                  <a:cubicBezTo>
                    <a:pt x="6471" y="53069"/>
                    <a:pt x="4148" y="49632"/>
                    <a:pt x="2489" y="45674"/>
                  </a:cubicBezTo>
                  <a:cubicBezTo>
                    <a:pt x="830" y="41716"/>
                    <a:pt x="0" y="37485"/>
                    <a:pt x="0" y="32958"/>
                  </a:cubicBezTo>
                  <a:lnTo>
                    <a:pt x="0" y="32780"/>
                  </a:lnTo>
                  <a:cubicBezTo>
                    <a:pt x="0" y="28253"/>
                    <a:pt x="841" y="24010"/>
                    <a:pt x="2536" y="20064"/>
                  </a:cubicBezTo>
                  <a:cubicBezTo>
                    <a:pt x="4231" y="16118"/>
                    <a:pt x="6566" y="12645"/>
                    <a:pt x="9552" y="9647"/>
                  </a:cubicBezTo>
                  <a:cubicBezTo>
                    <a:pt x="12539" y="6660"/>
                    <a:pt x="16106" y="4302"/>
                    <a:pt x="20242" y="2584"/>
                  </a:cubicBezTo>
                  <a:cubicBezTo>
                    <a:pt x="24378" y="865"/>
                    <a:pt x="28893" y="0"/>
                    <a:pt x="33776" y="0"/>
                  </a:cubicBezTo>
                  <a:cubicBezTo>
                    <a:pt x="38658" y="0"/>
                    <a:pt x="43162" y="865"/>
                    <a:pt x="47262" y="2584"/>
                  </a:cubicBezTo>
                  <a:cubicBezTo>
                    <a:pt x="51363" y="4302"/>
                    <a:pt x="54918" y="6625"/>
                    <a:pt x="57905" y="9552"/>
                  </a:cubicBezTo>
                  <a:cubicBezTo>
                    <a:pt x="60891" y="12479"/>
                    <a:pt x="63214" y="15916"/>
                    <a:pt x="64873" y="19874"/>
                  </a:cubicBezTo>
                  <a:cubicBezTo>
                    <a:pt x="66532" y="23833"/>
                    <a:pt x="67362" y="28063"/>
                    <a:pt x="67362" y="32591"/>
                  </a:cubicBezTo>
                  <a:lnTo>
                    <a:pt x="67362" y="32768"/>
                  </a:lnTo>
                  <a:cubicBezTo>
                    <a:pt x="67362" y="37295"/>
                    <a:pt x="66520" y="41538"/>
                    <a:pt x="64826" y="45496"/>
                  </a:cubicBezTo>
                  <a:close/>
                  <a:moveTo>
                    <a:pt x="52785" y="32756"/>
                  </a:moveTo>
                  <a:cubicBezTo>
                    <a:pt x="52785" y="30043"/>
                    <a:pt x="52323" y="27471"/>
                    <a:pt x="51387" y="25065"/>
                  </a:cubicBezTo>
                  <a:cubicBezTo>
                    <a:pt x="50450" y="22647"/>
                    <a:pt x="49123" y="20538"/>
                    <a:pt x="47405" y="18725"/>
                  </a:cubicBezTo>
                  <a:cubicBezTo>
                    <a:pt x="45686" y="16912"/>
                    <a:pt x="43648" y="15478"/>
                    <a:pt x="41289" y="14423"/>
                  </a:cubicBezTo>
                  <a:cubicBezTo>
                    <a:pt x="38931" y="13368"/>
                    <a:pt x="36371" y="12835"/>
                    <a:pt x="33598" y="12835"/>
                  </a:cubicBezTo>
                  <a:cubicBezTo>
                    <a:pt x="30825" y="12835"/>
                    <a:pt x="28182" y="13344"/>
                    <a:pt x="25859" y="14375"/>
                  </a:cubicBezTo>
                  <a:cubicBezTo>
                    <a:pt x="23536" y="15406"/>
                    <a:pt x="21545" y="16817"/>
                    <a:pt x="19886" y="18630"/>
                  </a:cubicBezTo>
                  <a:cubicBezTo>
                    <a:pt x="18227" y="20443"/>
                    <a:pt x="16923" y="22541"/>
                    <a:pt x="15987" y="24923"/>
                  </a:cubicBezTo>
                  <a:cubicBezTo>
                    <a:pt x="15051" y="27305"/>
                    <a:pt x="14589" y="29853"/>
                    <a:pt x="14589" y="32579"/>
                  </a:cubicBezTo>
                  <a:lnTo>
                    <a:pt x="14589" y="32756"/>
                  </a:lnTo>
                  <a:cubicBezTo>
                    <a:pt x="14589" y="35470"/>
                    <a:pt x="15051" y="38042"/>
                    <a:pt x="15987" y="40448"/>
                  </a:cubicBezTo>
                  <a:cubicBezTo>
                    <a:pt x="16923" y="42865"/>
                    <a:pt x="18251" y="44975"/>
                    <a:pt x="19969" y="46788"/>
                  </a:cubicBezTo>
                  <a:cubicBezTo>
                    <a:pt x="21688" y="48601"/>
                    <a:pt x="23714" y="50035"/>
                    <a:pt x="26037" y="51090"/>
                  </a:cubicBezTo>
                  <a:cubicBezTo>
                    <a:pt x="28360" y="52145"/>
                    <a:pt x="30943" y="52678"/>
                    <a:pt x="33776" y="52678"/>
                  </a:cubicBezTo>
                  <a:cubicBezTo>
                    <a:pt x="36608" y="52678"/>
                    <a:pt x="39121" y="52169"/>
                    <a:pt x="41467" y="51138"/>
                  </a:cubicBezTo>
                  <a:cubicBezTo>
                    <a:pt x="43825" y="50106"/>
                    <a:pt x="45828" y="48696"/>
                    <a:pt x="47487" y="46883"/>
                  </a:cubicBezTo>
                  <a:cubicBezTo>
                    <a:pt x="49147" y="45070"/>
                    <a:pt x="50450" y="42972"/>
                    <a:pt x="51387" y="40590"/>
                  </a:cubicBezTo>
                  <a:cubicBezTo>
                    <a:pt x="52323" y="38208"/>
                    <a:pt x="52785" y="35660"/>
                    <a:pt x="52785" y="32934"/>
                  </a:cubicBezTo>
                  <a:lnTo>
                    <a:pt x="52785" y="32756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3F311DD-2AC2-38F6-EA05-6C23B5B64A21}"/>
                </a:ext>
              </a:extLst>
            </p:cNvPr>
            <p:cNvSpPr/>
            <p:nvPr/>
          </p:nvSpPr>
          <p:spPr>
            <a:xfrm>
              <a:off x="1692871" y="6591709"/>
              <a:ext cx="63379" cy="63391"/>
            </a:xfrm>
            <a:custGeom>
              <a:avLst/>
              <a:gdLst>
                <a:gd name="connsiteX0" fmla="*/ 49621 w 63379"/>
                <a:gd name="connsiteY0" fmla="*/ 63392 h 63391"/>
                <a:gd name="connsiteX1" fmla="*/ 49621 w 63379"/>
                <a:gd name="connsiteY1" fmla="*/ 22008 h 63391"/>
                <a:gd name="connsiteX2" fmla="*/ 31785 w 63379"/>
                <a:gd name="connsiteY2" fmla="*/ 49075 h 63391"/>
                <a:gd name="connsiteX3" fmla="*/ 31417 w 63379"/>
                <a:gd name="connsiteY3" fmla="*/ 49075 h 63391"/>
                <a:gd name="connsiteX4" fmla="*/ 13759 w 63379"/>
                <a:gd name="connsiteY4" fmla="*/ 22268 h 63391"/>
                <a:gd name="connsiteX5" fmla="*/ 13759 w 63379"/>
                <a:gd name="connsiteY5" fmla="*/ 63380 h 63391"/>
                <a:gd name="connsiteX6" fmla="*/ 0 w 63379"/>
                <a:gd name="connsiteY6" fmla="*/ 63380 h 63391"/>
                <a:gd name="connsiteX7" fmla="*/ 0 w 63379"/>
                <a:gd name="connsiteY7" fmla="*/ 0 h 63391"/>
                <a:gd name="connsiteX8" fmla="*/ 15027 w 63379"/>
                <a:gd name="connsiteY8" fmla="*/ 0 h 63391"/>
                <a:gd name="connsiteX9" fmla="*/ 31690 w 63379"/>
                <a:gd name="connsiteY9" fmla="*/ 26807 h 63391"/>
                <a:gd name="connsiteX10" fmla="*/ 48353 w 63379"/>
                <a:gd name="connsiteY10" fmla="*/ 0 h 63391"/>
                <a:gd name="connsiteX11" fmla="*/ 63380 w 63379"/>
                <a:gd name="connsiteY11" fmla="*/ 0 h 63391"/>
                <a:gd name="connsiteX12" fmla="*/ 63380 w 63379"/>
                <a:gd name="connsiteY12" fmla="*/ 63380 h 63391"/>
                <a:gd name="connsiteX13" fmla="*/ 49621 w 63379"/>
                <a:gd name="connsiteY13" fmla="*/ 63380 h 63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79" h="63391">
                  <a:moveTo>
                    <a:pt x="49621" y="63392"/>
                  </a:moveTo>
                  <a:lnTo>
                    <a:pt x="49621" y="22008"/>
                  </a:lnTo>
                  <a:lnTo>
                    <a:pt x="31785" y="49075"/>
                  </a:lnTo>
                  <a:lnTo>
                    <a:pt x="31417" y="49075"/>
                  </a:lnTo>
                  <a:lnTo>
                    <a:pt x="13759" y="22268"/>
                  </a:lnTo>
                  <a:lnTo>
                    <a:pt x="13759" y="63380"/>
                  </a:lnTo>
                  <a:lnTo>
                    <a:pt x="0" y="63380"/>
                  </a:lnTo>
                  <a:lnTo>
                    <a:pt x="0" y="0"/>
                  </a:lnTo>
                  <a:lnTo>
                    <a:pt x="15027" y="0"/>
                  </a:lnTo>
                  <a:lnTo>
                    <a:pt x="31690" y="26807"/>
                  </a:lnTo>
                  <a:lnTo>
                    <a:pt x="48353" y="0"/>
                  </a:lnTo>
                  <a:lnTo>
                    <a:pt x="63380" y="0"/>
                  </a:lnTo>
                  <a:lnTo>
                    <a:pt x="63380" y="63380"/>
                  </a:lnTo>
                  <a:lnTo>
                    <a:pt x="49621" y="63380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248CCC9-BF5F-9034-187A-242BD0F89CD0}"/>
                </a:ext>
              </a:extLst>
            </p:cNvPr>
            <p:cNvSpPr/>
            <p:nvPr/>
          </p:nvSpPr>
          <p:spPr>
            <a:xfrm>
              <a:off x="1768671" y="6590654"/>
              <a:ext cx="67361" cy="65548"/>
            </a:xfrm>
            <a:custGeom>
              <a:avLst/>
              <a:gdLst>
                <a:gd name="connsiteX0" fmla="*/ 64826 w 67361"/>
                <a:gd name="connsiteY0" fmla="*/ 45485 h 65548"/>
                <a:gd name="connsiteX1" fmla="*/ 57810 w 67361"/>
                <a:gd name="connsiteY1" fmla="*/ 55902 h 65548"/>
                <a:gd name="connsiteX2" fmla="*/ 47120 w 67361"/>
                <a:gd name="connsiteY2" fmla="*/ 62965 h 65548"/>
                <a:gd name="connsiteX3" fmla="*/ 33586 w 67361"/>
                <a:gd name="connsiteY3" fmla="*/ 65548 h 65548"/>
                <a:gd name="connsiteX4" fmla="*/ 20100 w 67361"/>
                <a:gd name="connsiteY4" fmla="*/ 62965 h 65548"/>
                <a:gd name="connsiteX5" fmla="*/ 9457 w 67361"/>
                <a:gd name="connsiteY5" fmla="*/ 55996 h 65548"/>
                <a:gd name="connsiteX6" fmla="*/ 2489 w 67361"/>
                <a:gd name="connsiteY6" fmla="*/ 45674 h 65548"/>
                <a:gd name="connsiteX7" fmla="*/ 0 w 67361"/>
                <a:gd name="connsiteY7" fmla="*/ 32958 h 65548"/>
                <a:gd name="connsiteX8" fmla="*/ 0 w 67361"/>
                <a:gd name="connsiteY8" fmla="*/ 32780 h 65548"/>
                <a:gd name="connsiteX9" fmla="*/ 2536 w 67361"/>
                <a:gd name="connsiteY9" fmla="*/ 20064 h 65548"/>
                <a:gd name="connsiteX10" fmla="*/ 9552 w 67361"/>
                <a:gd name="connsiteY10" fmla="*/ 9647 h 65548"/>
                <a:gd name="connsiteX11" fmla="*/ 20242 w 67361"/>
                <a:gd name="connsiteY11" fmla="*/ 2584 h 65548"/>
                <a:gd name="connsiteX12" fmla="*/ 33776 w 67361"/>
                <a:gd name="connsiteY12" fmla="*/ 0 h 65548"/>
                <a:gd name="connsiteX13" fmla="*/ 47262 w 67361"/>
                <a:gd name="connsiteY13" fmla="*/ 2584 h 65548"/>
                <a:gd name="connsiteX14" fmla="*/ 57905 w 67361"/>
                <a:gd name="connsiteY14" fmla="*/ 9552 h 65548"/>
                <a:gd name="connsiteX15" fmla="*/ 64873 w 67361"/>
                <a:gd name="connsiteY15" fmla="*/ 19874 h 65548"/>
                <a:gd name="connsiteX16" fmla="*/ 67362 w 67361"/>
                <a:gd name="connsiteY16" fmla="*/ 32591 h 65548"/>
                <a:gd name="connsiteX17" fmla="*/ 67362 w 67361"/>
                <a:gd name="connsiteY17" fmla="*/ 32768 h 65548"/>
                <a:gd name="connsiteX18" fmla="*/ 64826 w 67361"/>
                <a:gd name="connsiteY18" fmla="*/ 45496 h 65548"/>
                <a:gd name="connsiteX19" fmla="*/ 52785 w 67361"/>
                <a:gd name="connsiteY19" fmla="*/ 32756 h 65548"/>
                <a:gd name="connsiteX20" fmla="*/ 51387 w 67361"/>
                <a:gd name="connsiteY20" fmla="*/ 25065 h 65548"/>
                <a:gd name="connsiteX21" fmla="*/ 47405 w 67361"/>
                <a:gd name="connsiteY21" fmla="*/ 18725 h 65548"/>
                <a:gd name="connsiteX22" fmla="*/ 41289 w 67361"/>
                <a:gd name="connsiteY22" fmla="*/ 14423 h 65548"/>
                <a:gd name="connsiteX23" fmla="*/ 33598 w 67361"/>
                <a:gd name="connsiteY23" fmla="*/ 12835 h 65548"/>
                <a:gd name="connsiteX24" fmla="*/ 25859 w 67361"/>
                <a:gd name="connsiteY24" fmla="*/ 14375 h 65548"/>
                <a:gd name="connsiteX25" fmla="*/ 19886 w 67361"/>
                <a:gd name="connsiteY25" fmla="*/ 18630 h 65548"/>
                <a:gd name="connsiteX26" fmla="*/ 15987 w 67361"/>
                <a:gd name="connsiteY26" fmla="*/ 24923 h 65548"/>
                <a:gd name="connsiteX27" fmla="*/ 14589 w 67361"/>
                <a:gd name="connsiteY27" fmla="*/ 32579 h 65548"/>
                <a:gd name="connsiteX28" fmla="*/ 14589 w 67361"/>
                <a:gd name="connsiteY28" fmla="*/ 32756 h 65548"/>
                <a:gd name="connsiteX29" fmla="*/ 15987 w 67361"/>
                <a:gd name="connsiteY29" fmla="*/ 40448 h 65548"/>
                <a:gd name="connsiteX30" fmla="*/ 19969 w 67361"/>
                <a:gd name="connsiteY30" fmla="*/ 46788 h 65548"/>
                <a:gd name="connsiteX31" fmla="*/ 26037 w 67361"/>
                <a:gd name="connsiteY31" fmla="*/ 51090 h 65548"/>
                <a:gd name="connsiteX32" fmla="*/ 33776 w 67361"/>
                <a:gd name="connsiteY32" fmla="*/ 52678 h 65548"/>
                <a:gd name="connsiteX33" fmla="*/ 41467 w 67361"/>
                <a:gd name="connsiteY33" fmla="*/ 51138 h 65548"/>
                <a:gd name="connsiteX34" fmla="*/ 47488 w 67361"/>
                <a:gd name="connsiteY34" fmla="*/ 46883 h 65548"/>
                <a:gd name="connsiteX35" fmla="*/ 51387 w 67361"/>
                <a:gd name="connsiteY35" fmla="*/ 40590 h 65548"/>
                <a:gd name="connsiteX36" fmla="*/ 52785 w 67361"/>
                <a:gd name="connsiteY36" fmla="*/ 32934 h 65548"/>
                <a:gd name="connsiteX37" fmla="*/ 52785 w 67361"/>
                <a:gd name="connsiteY37" fmla="*/ 32756 h 65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7361" h="65548">
                  <a:moveTo>
                    <a:pt x="64826" y="45485"/>
                  </a:moveTo>
                  <a:cubicBezTo>
                    <a:pt x="63131" y="49443"/>
                    <a:pt x="60796" y="52903"/>
                    <a:pt x="57810" y="55902"/>
                  </a:cubicBezTo>
                  <a:cubicBezTo>
                    <a:pt x="54823" y="58900"/>
                    <a:pt x="51256" y="61247"/>
                    <a:pt x="47120" y="62965"/>
                  </a:cubicBezTo>
                  <a:cubicBezTo>
                    <a:pt x="42984" y="64683"/>
                    <a:pt x="38469" y="65548"/>
                    <a:pt x="33586" y="65548"/>
                  </a:cubicBezTo>
                  <a:cubicBezTo>
                    <a:pt x="28703" y="65548"/>
                    <a:pt x="24200" y="64683"/>
                    <a:pt x="20100" y="62965"/>
                  </a:cubicBezTo>
                  <a:cubicBezTo>
                    <a:pt x="15999" y="61247"/>
                    <a:pt x="12444" y="58924"/>
                    <a:pt x="9457" y="55996"/>
                  </a:cubicBezTo>
                  <a:cubicBezTo>
                    <a:pt x="6471" y="53069"/>
                    <a:pt x="4148" y="49632"/>
                    <a:pt x="2489" y="45674"/>
                  </a:cubicBezTo>
                  <a:cubicBezTo>
                    <a:pt x="830" y="41716"/>
                    <a:pt x="0" y="37485"/>
                    <a:pt x="0" y="32958"/>
                  </a:cubicBezTo>
                  <a:lnTo>
                    <a:pt x="0" y="32780"/>
                  </a:lnTo>
                  <a:cubicBezTo>
                    <a:pt x="0" y="28253"/>
                    <a:pt x="841" y="24010"/>
                    <a:pt x="2536" y="20064"/>
                  </a:cubicBezTo>
                  <a:cubicBezTo>
                    <a:pt x="4231" y="16118"/>
                    <a:pt x="6566" y="12645"/>
                    <a:pt x="9552" y="9647"/>
                  </a:cubicBezTo>
                  <a:cubicBezTo>
                    <a:pt x="12539" y="6660"/>
                    <a:pt x="16106" y="4302"/>
                    <a:pt x="20242" y="2584"/>
                  </a:cubicBezTo>
                  <a:cubicBezTo>
                    <a:pt x="24378" y="865"/>
                    <a:pt x="28893" y="0"/>
                    <a:pt x="33776" y="0"/>
                  </a:cubicBezTo>
                  <a:cubicBezTo>
                    <a:pt x="38658" y="0"/>
                    <a:pt x="43162" y="865"/>
                    <a:pt x="47262" y="2584"/>
                  </a:cubicBezTo>
                  <a:cubicBezTo>
                    <a:pt x="51363" y="4302"/>
                    <a:pt x="54918" y="6625"/>
                    <a:pt x="57905" y="9552"/>
                  </a:cubicBezTo>
                  <a:cubicBezTo>
                    <a:pt x="60891" y="12479"/>
                    <a:pt x="63214" y="15916"/>
                    <a:pt x="64873" y="19874"/>
                  </a:cubicBezTo>
                  <a:cubicBezTo>
                    <a:pt x="66532" y="23833"/>
                    <a:pt x="67362" y="28063"/>
                    <a:pt x="67362" y="32591"/>
                  </a:cubicBezTo>
                  <a:lnTo>
                    <a:pt x="67362" y="32768"/>
                  </a:lnTo>
                  <a:cubicBezTo>
                    <a:pt x="67362" y="37295"/>
                    <a:pt x="66520" y="41538"/>
                    <a:pt x="64826" y="45496"/>
                  </a:cubicBezTo>
                  <a:close/>
                  <a:moveTo>
                    <a:pt x="52785" y="32756"/>
                  </a:moveTo>
                  <a:cubicBezTo>
                    <a:pt x="52785" y="30043"/>
                    <a:pt x="52323" y="27471"/>
                    <a:pt x="51387" y="25065"/>
                  </a:cubicBezTo>
                  <a:cubicBezTo>
                    <a:pt x="50450" y="22647"/>
                    <a:pt x="49123" y="20538"/>
                    <a:pt x="47405" y="18725"/>
                  </a:cubicBezTo>
                  <a:cubicBezTo>
                    <a:pt x="45686" y="16912"/>
                    <a:pt x="43648" y="15478"/>
                    <a:pt x="41289" y="14423"/>
                  </a:cubicBezTo>
                  <a:cubicBezTo>
                    <a:pt x="38931" y="13368"/>
                    <a:pt x="36371" y="12835"/>
                    <a:pt x="33598" y="12835"/>
                  </a:cubicBezTo>
                  <a:cubicBezTo>
                    <a:pt x="30825" y="12835"/>
                    <a:pt x="28182" y="13344"/>
                    <a:pt x="25859" y="14375"/>
                  </a:cubicBezTo>
                  <a:cubicBezTo>
                    <a:pt x="23536" y="15406"/>
                    <a:pt x="21545" y="16817"/>
                    <a:pt x="19886" y="18630"/>
                  </a:cubicBezTo>
                  <a:cubicBezTo>
                    <a:pt x="18227" y="20443"/>
                    <a:pt x="16923" y="22541"/>
                    <a:pt x="15987" y="24923"/>
                  </a:cubicBezTo>
                  <a:cubicBezTo>
                    <a:pt x="15051" y="27305"/>
                    <a:pt x="14589" y="29853"/>
                    <a:pt x="14589" y="32579"/>
                  </a:cubicBezTo>
                  <a:lnTo>
                    <a:pt x="14589" y="32756"/>
                  </a:lnTo>
                  <a:cubicBezTo>
                    <a:pt x="14589" y="35470"/>
                    <a:pt x="15051" y="38042"/>
                    <a:pt x="15987" y="40448"/>
                  </a:cubicBezTo>
                  <a:cubicBezTo>
                    <a:pt x="16923" y="42865"/>
                    <a:pt x="18251" y="44975"/>
                    <a:pt x="19969" y="46788"/>
                  </a:cubicBezTo>
                  <a:cubicBezTo>
                    <a:pt x="21688" y="48601"/>
                    <a:pt x="23714" y="50035"/>
                    <a:pt x="26037" y="51090"/>
                  </a:cubicBezTo>
                  <a:cubicBezTo>
                    <a:pt x="28360" y="52145"/>
                    <a:pt x="30943" y="52678"/>
                    <a:pt x="33776" y="52678"/>
                  </a:cubicBezTo>
                  <a:cubicBezTo>
                    <a:pt x="36608" y="52678"/>
                    <a:pt x="39121" y="52169"/>
                    <a:pt x="41467" y="51138"/>
                  </a:cubicBezTo>
                  <a:cubicBezTo>
                    <a:pt x="43826" y="50106"/>
                    <a:pt x="45828" y="48696"/>
                    <a:pt x="47488" y="46883"/>
                  </a:cubicBezTo>
                  <a:cubicBezTo>
                    <a:pt x="49147" y="45070"/>
                    <a:pt x="50450" y="42972"/>
                    <a:pt x="51387" y="40590"/>
                  </a:cubicBezTo>
                  <a:cubicBezTo>
                    <a:pt x="52323" y="38208"/>
                    <a:pt x="52785" y="35660"/>
                    <a:pt x="52785" y="32934"/>
                  </a:cubicBezTo>
                  <a:lnTo>
                    <a:pt x="52785" y="32756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7A9DC41D-73B7-758A-C05C-DED4E910CB54}"/>
                </a:ext>
              </a:extLst>
            </p:cNvPr>
            <p:cNvSpPr/>
            <p:nvPr/>
          </p:nvSpPr>
          <p:spPr>
            <a:xfrm>
              <a:off x="1976552" y="6590654"/>
              <a:ext cx="67361" cy="65548"/>
            </a:xfrm>
            <a:custGeom>
              <a:avLst/>
              <a:gdLst>
                <a:gd name="connsiteX0" fmla="*/ 64826 w 67361"/>
                <a:gd name="connsiteY0" fmla="*/ 45485 h 65548"/>
                <a:gd name="connsiteX1" fmla="*/ 57810 w 67361"/>
                <a:gd name="connsiteY1" fmla="*/ 55902 h 65548"/>
                <a:gd name="connsiteX2" fmla="*/ 47120 w 67361"/>
                <a:gd name="connsiteY2" fmla="*/ 62965 h 65548"/>
                <a:gd name="connsiteX3" fmla="*/ 33586 w 67361"/>
                <a:gd name="connsiteY3" fmla="*/ 65548 h 65548"/>
                <a:gd name="connsiteX4" fmla="*/ 20099 w 67361"/>
                <a:gd name="connsiteY4" fmla="*/ 62965 h 65548"/>
                <a:gd name="connsiteX5" fmla="*/ 9457 w 67361"/>
                <a:gd name="connsiteY5" fmla="*/ 55996 h 65548"/>
                <a:gd name="connsiteX6" fmla="*/ 2489 w 67361"/>
                <a:gd name="connsiteY6" fmla="*/ 45674 h 65548"/>
                <a:gd name="connsiteX7" fmla="*/ 0 w 67361"/>
                <a:gd name="connsiteY7" fmla="*/ 32958 h 65548"/>
                <a:gd name="connsiteX8" fmla="*/ 0 w 67361"/>
                <a:gd name="connsiteY8" fmla="*/ 32780 h 65548"/>
                <a:gd name="connsiteX9" fmla="*/ 2536 w 67361"/>
                <a:gd name="connsiteY9" fmla="*/ 20064 h 65548"/>
                <a:gd name="connsiteX10" fmla="*/ 9552 w 67361"/>
                <a:gd name="connsiteY10" fmla="*/ 9647 h 65548"/>
                <a:gd name="connsiteX11" fmla="*/ 20242 w 67361"/>
                <a:gd name="connsiteY11" fmla="*/ 2584 h 65548"/>
                <a:gd name="connsiteX12" fmla="*/ 33776 w 67361"/>
                <a:gd name="connsiteY12" fmla="*/ 0 h 65548"/>
                <a:gd name="connsiteX13" fmla="*/ 47262 w 67361"/>
                <a:gd name="connsiteY13" fmla="*/ 2584 h 65548"/>
                <a:gd name="connsiteX14" fmla="*/ 57905 w 67361"/>
                <a:gd name="connsiteY14" fmla="*/ 9552 h 65548"/>
                <a:gd name="connsiteX15" fmla="*/ 64873 w 67361"/>
                <a:gd name="connsiteY15" fmla="*/ 19874 h 65548"/>
                <a:gd name="connsiteX16" fmla="*/ 67362 w 67361"/>
                <a:gd name="connsiteY16" fmla="*/ 32591 h 65548"/>
                <a:gd name="connsiteX17" fmla="*/ 67362 w 67361"/>
                <a:gd name="connsiteY17" fmla="*/ 32768 h 65548"/>
                <a:gd name="connsiteX18" fmla="*/ 64826 w 67361"/>
                <a:gd name="connsiteY18" fmla="*/ 45496 h 65548"/>
                <a:gd name="connsiteX19" fmla="*/ 52785 w 67361"/>
                <a:gd name="connsiteY19" fmla="*/ 32756 h 65548"/>
                <a:gd name="connsiteX20" fmla="*/ 51387 w 67361"/>
                <a:gd name="connsiteY20" fmla="*/ 25065 h 65548"/>
                <a:gd name="connsiteX21" fmla="*/ 47405 w 67361"/>
                <a:gd name="connsiteY21" fmla="*/ 18725 h 65548"/>
                <a:gd name="connsiteX22" fmla="*/ 41289 w 67361"/>
                <a:gd name="connsiteY22" fmla="*/ 14423 h 65548"/>
                <a:gd name="connsiteX23" fmla="*/ 33598 w 67361"/>
                <a:gd name="connsiteY23" fmla="*/ 12835 h 65548"/>
                <a:gd name="connsiteX24" fmla="*/ 25859 w 67361"/>
                <a:gd name="connsiteY24" fmla="*/ 14375 h 65548"/>
                <a:gd name="connsiteX25" fmla="*/ 19886 w 67361"/>
                <a:gd name="connsiteY25" fmla="*/ 18630 h 65548"/>
                <a:gd name="connsiteX26" fmla="*/ 15987 w 67361"/>
                <a:gd name="connsiteY26" fmla="*/ 24923 h 65548"/>
                <a:gd name="connsiteX27" fmla="*/ 14589 w 67361"/>
                <a:gd name="connsiteY27" fmla="*/ 32579 h 65548"/>
                <a:gd name="connsiteX28" fmla="*/ 14589 w 67361"/>
                <a:gd name="connsiteY28" fmla="*/ 32756 h 65548"/>
                <a:gd name="connsiteX29" fmla="*/ 15987 w 67361"/>
                <a:gd name="connsiteY29" fmla="*/ 40448 h 65548"/>
                <a:gd name="connsiteX30" fmla="*/ 19969 w 67361"/>
                <a:gd name="connsiteY30" fmla="*/ 46788 h 65548"/>
                <a:gd name="connsiteX31" fmla="*/ 26037 w 67361"/>
                <a:gd name="connsiteY31" fmla="*/ 51090 h 65548"/>
                <a:gd name="connsiteX32" fmla="*/ 33776 w 67361"/>
                <a:gd name="connsiteY32" fmla="*/ 52678 h 65548"/>
                <a:gd name="connsiteX33" fmla="*/ 41467 w 67361"/>
                <a:gd name="connsiteY33" fmla="*/ 51138 h 65548"/>
                <a:gd name="connsiteX34" fmla="*/ 47487 w 67361"/>
                <a:gd name="connsiteY34" fmla="*/ 46883 h 65548"/>
                <a:gd name="connsiteX35" fmla="*/ 51387 w 67361"/>
                <a:gd name="connsiteY35" fmla="*/ 40590 h 65548"/>
                <a:gd name="connsiteX36" fmla="*/ 52785 w 67361"/>
                <a:gd name="connsiteY36" fmla="*/ 32934 h 65548"/>
                <a:gd name="connsiteX37" fmla="*/ 52785 w 67361"/>
                <a:gd name="connsiteY37" fmla="*/ 32756 h 65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7361" h="65548">
                  <a:moveTo>
                    <a:pt x="64826" y="45485"/>
                  </a:moveTo>
                  <a:cubicBezTo>
                    <a:pt x="63131" y="49443"/>
                    <a:pt x="60796" y="52903"/>
                    <a:pt x="57810" y="55902"/>
                  </a:cubicBezTo>
                  <a:cubicBezTo>
                    <a:pt x="54823" y="58900"/>
                    <a:pt x="51256" y="61247"/>
                    <a:pt x="47120" y="62965"/>
                  </a:cubicBezTo>
                  <a:cubicBezTo>
                    <a:pt x="42984" y="64683"/>
                    <a:pt x="38469" y="65548"/>
                    <a:pt x="33586" y="65548"/>
                  </a:cubicBezTo>
                  <a:cubicBezTo>
                    <a:pt x="28703" y="65548"/>
                    <a:pt x="24200" y="64683"/>
                    <a:pt x="20099" y="62965"/>
                  </a:cubicBezTo>
                  <a:cubicBezTo>
                    <a:pt x="15999" y="61247"/>
                    <a:pt x="12444" y="58924"/>
                    <a:pt x="9457" y="55996"/>
                  </a:cubicBezTo>
                  <a:cubicBezTo>
                    <a:pt x="6471" y="53069"/>
                    <a:pt x="4148" y="49632"/>
                    <a:pt x="2489" y="45674"/>
                  </a:cubicBezTo>
                  <a:cubicBezTo>
                    <a:pt x="830" y="41716"/>
                    <a:pt x="0" y="37485"/>
                    <a:pt x="0" y="32958"/>
                  </a:cubicBezTo>
                  <a:lnTo>
                    <a:pt x="0" y="32780"/>
                  </a:lnTo>
                  <a:cubicBezTo>
                    <a:pt x="0" y="28253"/>
                    <a:pt x="841" y="24010"/>
                    <a:pt x="2536" y="20064"/>
                  </a:cubicBezTo>
                  <a:cubicBezTo>
                    <a:pt x="4231" y="16118"/>
                    <a:pt x="6566" y="12645"/>
                    <a:pt x="9552" y="9647"/>
                  </a:cubicBezTo>
                  <a:cubicBezTo>
                    <a:pt x="12538" y="6660"/>
                    <a:pt x="16106" y="4302"/>
                    <a:pt x="20242" y="2584"/>
                  </a:cubicBezTo>
                  <a:cubicBezTo>
                    <a:pt x="24378" y="865"/>
                    <a:pt x="28893" y="0"/>
                    <a:pt x="33776" y="0"/>
                  </a:cubicBezTo>
                  <a:cubicBezTo>
                    <a:pt x="38658" y="0"/>
                    <a:pt x="43162" y="865"/>
                    <a:pt x="47262" y="2584"/>
                  </a:cubicBezTo>
                  <a:cubicBezTo>
                    <a:pt x="51363" y="4302"/>
                    <a:pt x="54918" y="6625"/>
                    <a:pt x="57905" y="9552"/>
                  </a:cubicBezTo>
                  <a:cubicBezTo>
                    <a:pt x="60891" y="12479"/>
                    <a:pt x="63214" y="15916"/>
                    <a:pt x="64873" y="19874"/>
                  </a:cubicBezTo>
                  <a:cubicBezTo>
                    <a:pt x="66532" y="23833"/>
                    <a:pt x="67362" y="28063"/>
                    <a:pt x="67362" y="32591"/>
                  </a:cubicBezTo>
                  <a:lnTo>
                    <a:pt x="67362" y="32768"/>
                  </a:lnTo>
                  <a:cubicBezTo>
                    <a:pt x="67362" y="37295"/>
                    <a:pt x="66520" y="41538"/>
                    <a:pt x="64826" y="45496"/>
                  </a:cubicBezTo>
                  <a:close/>
                  <a:moveTo>
                    <a:pt x="52785" y="32756"/>
                  </a:moveTo>
                  <a:cubicBezTo>
                    <a:pt x="52785" y="30043"/>
                    <a:pt x="52323" y="27471"/>
                    <a:pt x="51387" y="25065"/>
                  </a:cubicBezTo>
                  <a:cubicBezTo>
                    <a:pt x="50450" y="22647"/>
                    <a:pt x="49123" y="20538"/>
                    <a:pt x="47405" y="18725"/>
                  </a:cubicBezTo>
                  <a:cubicBezTo>
                    <a:pt x="45686" y="16912"/>
                    <a:pt x="43648" y="15478"/>
                    <a:pt x="41289" y="14423"/>
                  </a:cubicBezTo>
                  <a:cubicBezTo>
                    <a:pt x="38931" y="13368"/>
                    <a:pt x="36371" y="12835"/>
                    <a:pt x="33598" y="12835"/>
                  </a:cubicBezTo>
                  <a:cubicBezTo>
                    <a:pt x="30825" y="12835"/>
                    <a:pt x="28182" y="13344"/>
                    <a:pt x="25859" y="14375"/>
                  </a:cubicBezTo>
                  <a:cubicBezTo>
                    <a:pt x="23536" y="15406"/>
                    <a:pt x="21545" y="16817"/>
                    <a:pt x="19886" y="18630"/>
                  </a:cubicBezTo>
                  <a:cubicBezTo>
                    <a:pt x="18227" y="20443"/>
                    <a:pt x="16923" y="22541"/>
                    <a:pt x="15987" y="24923"/>
                  </a:cubicBezTo>
                  <a:cubicBezTo>
                    <a:pt x="15051" y="27305"/>
                    <a:pt x="14589" y="29853"/>
                    <a:pt x="14589" y="32579"/>
                  </a:cubicBezTo>
                  <a:lnTo>
                    <a:pt x="14589" y="32756"/>
                  </a:lnTo>
                  <a:cubicBezTo>
                    <a:pt x="14589" y="35470"/>
                    <a:pt x="15051" y="38042"/>
                    <a:pt x="15987" y="40448"/>
                  </a:cubicBezTo>
                  <a:cubicBezTo>
                    <a:pt x="16923" y="42865"/>
                    <a:pt x="18251" y="44975"/>
                    <a:pt x="19969" y="46788"/>
                  </a:cubicBezTo>
                  <a:cubicBezTo>
                    <a:pt x="21688" y="48601"/>
                    <a:pt x="23714" y="50035"/>
                    <a:pt x="26037" y="51090"/>
                  </a:cubicBezTo>
                  <a:cubicBezTo>
                    <a:pt x="28360" y="52145"/>
                    <a:pt x="30943" y="52678"/>
                    <a:pt x="33776" y="52678"/>
                  </a:cubicBezTo>
                  <a:cubicBezTo>
                    <a:pt x="36608" y="52678"/>
                    <a:pt x="39121" y="52169"/>
                    <a:pt x="41467" y="51138"/>
                  </a:cubicBezTo>
                  <a:cubicBezTo>
                    <a:pt x="43825" y="50106"/>
                    <a:pt x="45828" y="48696"/>
                    <a:pt x="47487" y="46883"/>
                  </a:cubicBezTo>
                  <a:cubicBezTo>
                    <a:pt x="49147" y="45070"/>
                    <a:pt x="50450" y="42972"/>
                    <a:pt x="51387" y="40590"/>
                  </a:cubicBezTo>
                  <a:cubicBezTo>
                    <a:pt x="52323" y="38208"/>
                    <a:pt x="52785" y="35660"/>
                    <a:pt x="52785" y="32934"/>
                  </a:cubicBezTo>
                  <a:lnTo>
                    <a:pt x="52785" y="32756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9597F70-8EAA-A681-D0A6-D22EEE1C5ECD}"/>
                </a:ext>
              </a:extLst>
            </p:cNvPr>
            <p:cNvSpPr/>
            <p:nvPr/>
          </p:nvSpPr>
          <p:spPr>
            <a:xfrm>
              <a:off x="2045181" y="6591543"/>
              <a:ext cx="96183" cy="64019"/>
            </a:xfrm>
            <a:custGeom>
              <a:avLst/>
              <a:gdLst>
                <a:gd name="connsiteX0" fmla="*/ 74520 w 96183"/>
                <a:gd name="connsiteY0" fmla="*/ 64020 h 64019"/>
                <a:gd name="connsiteX1" fmla="*/ 62384 w 96183"/>
                <a:gd name="connsiteY1" fmla="*/ 64020 h 64019"/>
                <a:gd name="connsiteX2" fmla="*/ 48080 w 96183"/>
                <a:gd name="connsiteY2" fmla="*/ 22553 h 64019"/>
                <a:gd name="connsiteX3" fmla="*/ 33776 w 96183"/>
                <a:gd name="connsiteY3" fmla="*/ 64020 h 64019"/>
                <a:gd name="connsiteX4" fmla="*/ 21640 w 96183"/>
                <a:gd name="connsiteY4" fmla="*/ 64020 h 64019"/>
                <a:gd name="connsiteX5" fmla="*/ 0 w 96183"/>
                <a:gd name="connsiteY5" fmla="*/ 190 h 64019"/>
                <a:gd name="connsiteX6" fmla="*/ 14944 w 96183"/>
                <a:gd name="connsiteY6" fmla="*/ 190 h 64019"/>
                <a:gd name="connsiteX7" fmla="*/ 28075 w 96183"/>
                <a:gd name="connsiteY7" fmla="*/ 43102 h 64019"/>
                <a:gd name="connsiteX8" fmla="*/ 42297 w 96183"/>
                <a:gd name="connsiteY8" fmla="*/ 0 h 64019"/>
                <a:gd name="connsiteX9" fmla="*/ 54254 w 96183"/>
                <a:gd name="connsiteY9" fmla="*/ 0 h 64019"/>
                <a:gd name="connsiteX10" fmla="*/ 68476 w 96183"/>
                <a:gd name="connsiteY10" fmla="*/ 43102 h 64019"/>
                <a:gd name="connsiteX11" fmla="*/ 81607 w 96183"/>
                <a:gd name="connsiteY11" fmla="*/ 190 h 64019"/>
                <a:gd name="connsiteX12" fmla="*/ 96184 w 96183"/>
                <a:gd name="connsiteY12" fmla="*/ 190 h 64019"/>
                <a:gd name="connsiteX13" fmla="*/ 74544 w 96183"/>
                <a:gd name="connsiteY13" fmla="*/ 64020 h 6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6183" h="64019">
                  <a:moveTo>
                    <a:pt x="74520" y="64020"/>
                  </a:moveTo>
                  <a:lnTo>
                    <a:pt x="62384" y="64020"/>
                  </a:lnTo>
                  <a:lnTo>
                    <a:pt x="48080" y="22553"/>
                  </a:lnTo>
                  <a:lnTo>
                    <a:pt x="33776" y="64020"/>
                  </a:lnTo>
                  <a:lnTo>
                    <a:pt x="21640" y="64020"/>
                  </a:lnTo>
                  <a:lnTo>
                    <a:pt x="0" y="190"/>
                  </a:lnTo>
                  <a:lnTo>
                    <a:pt x="14944" y="190"/>
                  </a:lnTo>
                  <a:lnTo>
                    <a:pt x="28075" y="43102"/>
                  </a:lnTo>
                  <a:lnTo>
                    <a:pt x="42297" y="0"/>
                  </a:lnTo>
                  <a:lnTo>
                    <a:pt x="54254" y="0"/>
                  </a:lnTo>
                  <a:lnTo>
                    <a:pt x="68476" y="43102"/>
                  </a:lnTo>
                  <a:lnTo>
                    <a:pt x="81607" y="190"/>
                  </a:lnTo>
                  <a:lnTo>
                    <a:pt x="96184" y="190"/>
                  </a:lnTo>
                  <a:lnTo>
                    <a:pt x="74544" y="64020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3BF9A92-D443-4FDE-2D68-1E3ADB3C7556}"/>
                </a:ext>
              </a:extLst>
            </p:cNvPr>
            <p:cNvSpPr/>
            <p:nvPr/>
          </p:nvSpPr>
          <p:spPr>
            <a:xfrm>
              <a:off x="1847244" y="6591863"/>
              <a:ext cx="54787" cy="63379"/>
            </a:xfrm>
            <a:custGeom>
              <a:avLst/>
              <a:gdLst>
                <a:gd name="connsiteX0" fmla="*/ 36004 w 54787"/>
                <a:gd name="connsiteY0" fmla="*/ 40744 h 63379"/>
                <a:gd name="connsiteX1" fmla="*/ 49123 w 54787"/>
                <a:gd name="connsiteY1" fmla="*/ 33633 h 63379"/>
                <a:gd name="connsiteX2" fmla="*/ 52880 w 54787"/>
                <a:gd name="connsiteY2" fmla="*/ 21095 h 63379"/>
                <a:gd name="connsiteX3" fmla="*/ 52880 w 54787"/>
                <a:gd name="connsiteY3" fmla="*/ 20917 h 63379"/>
                <a:gd name="connsiteX4" fmla="*/ 46587 w 54787"/>
                <a:gd name="connsiteY4" fmla="*/ 5523 h 63379"/>
                <a:gd name="connsiteX5" fmla="*/ 28976 w 54787"/>
                <a:gd name="connsiteY5" fmla="*/ 0 h 63379"/>
                <a:gd name="connsiteX6" fmla="*/ 0 w 54787"/>
                <a:gd name="connsiteY6" fmla="*/ 0 h 63379"/>
                <a:gd name="connsiteX7" fmla="*/ 0 w 54787"/>
                <a:gd name="connsiteY7" fmla="*/ 63380 h 63379"/>
                <a:gd name="connsiteX8" fmla="*/ 13949 w 54787"/>
                <a:gd name="connsiteY8" fmla="*/ 63380 h 63379"/>
                <a:gd name="connsiteX9" fmla="*/ 13949 w 54787"/>
                <a:gd name="connsiteY9" fmla="*/ 12586 h 63379"/>
                <a:gd name="connsiteX10" fmla="*/ 27803 w 54787"/>
                <a:gd name="connsiteY10" fmla="*/ 12586 h 63379"/>
                <a:gd name="connsiteX11" fmla="*/ 35862 w 54787"/>
                <a:gd name="connsiteY11" fmla="*/ 14849 h 63379"/>
                <a:gd name="connsiteX12" fmla="*/ 38765 w 54787"/>
                <a:gd name="connsiteY12" fmla="*/ 21640 h 63379"/>
                <a:gd name="connsiteX13" fmla="*/ 38765 w 54787"/>
                <a:gd name="connsiteY13" fmla="*/ 21818 h 63379"/>
                <a:gd name="connsiteX14" fmla="*/ 36004 w 54787"/>
                <a:gd name="connsiteY14" fmla="*/ 28336 h 63379"/>
                <a:gd name="connsiteX15" fmla="*/ 28075 w 54787"/>
                <a:gd name="connsiteY15" fmla="*/ 30777 h 63379"/>
                <a:gd name="connsiteX16" fmla="*/ 20941 w 54787"/>
                <a:gd name="connsiteY16" fmla="*/ 30777 h 63379"/>
                <a:gd name="connsiteX17" fmla="*/ 20941 w 54787"/>
                <a:gd name="connsiteY17" fmla="*/ 43091 h 63379"/>
                <a:gd name="connsiteX18" fmla="*/ 36122 w 54787"/>
                <a:gd name="connsiteY18" fmla="*/ 63368 h 63379"/>
                <a:gd name="connsiteX19" fmla="*/ 54788 w 54787"/>
                <a:gd name="connsiteY19" fmla="*/ 63368 h 63379"/>
                <a:gd name="connsiteX20" fmla="*/ 36004 w 54787"/>
                <a:gd name="connsiteY20" fmla="*/ 40732 h 63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4787" h="63379">
                  <a:moveTo>
                    <a:pt x="36004" y="40744"/>
                  </a:moveTo>
                  <a:cubicBezTo>
                    <a:pt x="43956" y="39038"/>
                    <a:pt x="46622" y="36869"/>
                    <a:pt x="49123" y="33633"/>
                  </a:cubicBezTo>
                  <a:cubicBezTo>
                    <a:pt x="51624" y="30398"/>
                    <a:pt x="52880" y="26227"/>
                    <a:pt x="52880" y="21095"/>
                  </a:cubicBezTo>
                  <a:lnTo>
                    <a:pt x="52880" y="20917"/>
                  </a:lnTo>
                  <a:cubicBezTo>
                    <a:pt x="52880" y="14340"/>
                    <a:pt x="50782" y="9208"/>
                    <a:pt x="46587" y="5523"/>
                  </a:cubicBezTo>
                  <a:cubicBezTo>
                    <a:pt x="42391" y="1837"/>
                    <a:pt x="36525" y="0"/>
                    <a:pt x="28976" y="0"/>
                  </a:cubicBezTo>
                  <a:lnTo>
                    <a:pt x="0" y="0"/>
                  </a:lnTo>
                  <a:lnTo>
                    <a:pt x="0" y="63380"/>
                  </a:lnTo>
                  <a:lnTo>
                    <a:pt x="13949" y="63380"/>
                  </a:lnTo>
                  <a:lnTo>
                    <a:pt x="13949" y="12586"/>
                  </a:lnTo>
                  <a:lnTo>
                    <a:pt x="27803" y="12586"/>
                  </a:lnTo>
                  <a:cubicBezTo>
                    <a:pt x="31240" y="12586"/>
                    <a:pt x="33930" y="13344"/>
                    <a:pt x="35862" y="14849"/>
                  </a:cubicBezTo>
                  <a:cubicBezTo>
                    <a:pt x="37793" y="16355"/>
                    <a:pt x="38765" y="18618"/>
                    <a:pt x="38765" y="21640"/>
                  </a:cubicBezTo>
                  <a:lnTo>
                    <a:pt x="38765" y="21818"/>
                  </a:lnTo>
                  <a:cubicBezTo>
                    <a:pt x="38765" y="24532"/>
                    <a:pt x="37841" y="26701"/>
                    <a:pt x="36004" y="28336"/>
                  </a:cubicBezTo>
                  <a:cubicBezTo>
                    <a:pt x="34167" y="29971"/>
                    <a:pt x="31524" y="30777"/>
                    <a:pt x="28075" y="30777"/>
                  </a:cubicBezTo>
                  <a:lnTo>
                    <a:pt x="20941" y="30777"/>
                  </a:lnTo>
                  <a:lnTo>
                    <a:pt x="20941" y="43091"/>
                  </a:lnTo>
                  <a:lnTo>
                    <a:pt x="36122" y="63368"/>
                  </a:lnTo>
                  <a:lnTo>
                    <a:pt x="54788" y="63368"/>
                  </a:lnTo>
                  <a:lnTo>
                    <a:pt x="36004" y="40732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2EC919D-23CC-21A3-8BC4-385840CC7B5B}"/>
                </a:ext>
              </a:extLst>
            </p:cNvPr>
            <p:cNvSpPr/>
            <p:nvPr/>
          </p:nvSpPr>
          <p:spPr>
            <a:xfrm>
              <a:off x="1913895" y="6591863"/>
              <a:ext cx="54787" cy="63379"/>
            </a:xfrm>
            <a:custGeom>
              <a:avLst/>
              <a:gdLst>
                <a:gd name="connsiteX0" fmla="*/ 36004 w 54787"/>
                <a:gd name="connsiteY0" fmla="*/ 40744 h 63379"/>
                <a:gd name="connsiteX1" fmla="*/ 49123 w 54787"/>
                <a:gd name="connsiteY1" fmla="*/ 33633 h 63379"/>
                <a:gd name="connsiteX2" fmla="*/ 52880 w 54787"/>
                <a:gd name="connsiteY2" fmla="*/ 21095 h 63379"/>
                <a:gd name="connsiteX3" fmla="*/ 52880 w 54787"/>
                <a:gd name="connsiteY3" fmla="*/ 20917 h 63379"/>
                <a:gd name="connsiteX4" fmla="*/ 46587 w 54787"/>
                <a:gd name="connsiteY4" fmla="*/ 5523 h 63379"/>
                <a:gd name="connsiteX5" fmla="*/ 28976 w 54787"/>
                <a:gd name="connsiteY5" fmla="*/ 0 h 63379"/>
                <a:gd name="connsiteX6" fmla="*/ 0 w 54787"/>
                <a:gd name="connsiteY6" fmla="*/ 0 h 63379"/>
                <a:gd name="connsiteX7" fmla="*/ 0 w 54787"/>
                <a:gd name="connsiteY7" fmla="*/ 63380 h 63379"/>
                <a:gd name="connsiteX8" fmla="*/ 13949 w 54787"/>
                <a:gd name="connsiteY8" fmla="*/ 63380 h 63379"/>
                <a:gd name="connsiteX9" fmla="*/ 13949 w 54787"/>
                <a:gd name="connsiteY9" fmla="*/ 12586 h 63379"/>
                <a:gd name="connsiteX10" fmla="*/ 27803 w 54787"/>
                <a:gd name="connsiteY10" fmla="*/ 12586 h 63379"/>
                <a:gd name="connsiteX11" fmla="*/ 35862 w 54787"/>
                <a:gd name="connsiteY11" fmla="*/ 14849 h 63379"/>
                <a:gd name="connsiteX12" fmla="*/ 38765 w 54787"/>
                <a:gd name="connsiteY12" fmla="*/ 21640 h 63379"/>
                <a:gd name="connsiteX13" fmla="*/ 38765 w 54787"/>
                <a:gd name="connsiteY13" fmla="*/ 21818 h 63379"/>
                <a:gd name="connsiteX14" fmla="*/ 36004 w 54787"/>
                <a:gd name="connsiteY14" fmla="*/ 28336 h 63379"/>
                <a:gd name="connsiteX15" fmla="*/ 28075 w 54787"/>
                <a:gd name="connsiteY15" fmla="*/ 30777 h 63379"/>
                <a:gd name="connsiteX16" fmla="*/ 20941 w 54787"/>
                <a:gd name="connsiteY16" fmla="*/ 30777 h 63379"/>
                <a:gd name="connsiteX17" fmla="*/ 20941 w 54787"/>
                <a:gd name="connsiteY17" fmla="*/ 43091 h 63379"/>
                <a:gd name="connsiteX18" fmla="*/ 36122 w 54787"/>
                <a:gd name="connsiteY18" fmla="*/ 63368 h 63379"/>
                <a:gd name="connsiteX19" fmla="*/ 54788 w 54787"/>
                <a:gd name="connsiteY19" fmla="*/ 63368 h 63379"/>
                <a:gd name="connsiteX20" fmla="*/ 36004 w 54787"/>
                <a:gd name="connsiteY20" fmla="*/ 40732 h 63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4787" h="63379">
                  <a:moveTo>
                    <a:pt x="36004" y="40744"/>
                  </a:moveTo>
                  <a:cubicBezTo>
                    <a:pt x="43956" y="39038"/>
                    <a:pt x="46622" y="36869"/>
                    <a:pt x="49123" y="33633"/>
                  </a:cubicBezTo>
                  <a:cubicBezTo>
                    <a:pt x="51624" y="30398"/>
                    <a:pt x="52880" y="26227"/>
                    <a:pt x="52880" y="21095"/>
                  </a:cubicBezTo>
                  <a:lnTo>
                    <a:pt x="52880" y="20917"/>
                  </a:lnTo>
                  <a:cubicBezTo>
                    <a:pt x="52880" y="14340"/>
                    <a:pt x="50782" y="9208"/>
                    <a:pt x="46587" y="5523"/>
                  </a:cubicBezTo>
                  <a:cubicBezTo>
                    <a:pt x="42391" y="1837"/>
                    <a:pt x="36525" y="0"/>
                    <a:pt x="28976" y="0"/>
                  </a:cubicBezTo>
                  <a:lnTo>
                    <a:pt x="0" y="0"/>
                  </a:lnTo>
                  <a:lnTo>
                    <a:pt x="0" y="63380"/>
                  </a:lnTo>
                  <a:lnTo>
                    <a:pt x="13949" y="63380"/>
                  </a:lnTo>
                  <a:lnTo>
                    <a:pt x="13949" y="12586"/>
                  </a:lnTo>
                  <a:lnTo>
                    <a:pt x="27803" y="12586"/>
                  </a:lnTo>
                  <a:cubicBezTo>
                    <a:pt x="31240" y="12586"/>
                    <a:pt x="33930" y="13344"/>
                    <a:pt x="35862" y="14849"/>
                  </a:cubicBezTo>
                  <a:cubicBezTo>
                    <a:pt x="37793" y="16355"/>
                    <a:pt x="38765" y="18618"/>
                    <a:pt x="38765" y="21640"/>
                  </a:cubicBezTo>
                  <a:lnTo>
                    <a:pt x="38765" y="21818"/>
                  </a:lnTo>
                  <a:cubicBezTo>
                    <a:pt x="38765" y="24532"/>
                    <a:pt x="37841" y="26701"/>
                    <a:pt x="36004" y="28336"/>
                  </a:cubicBezTo>
                  <a:cubicBezTo>
                    <a:pt x="34167" y="29971"/>
                    <a:pt x="31524" y="30777"/>
                    <a:pt x="28075" y="30777"/>
                  </a:cubicBezTo>
                  <a:lnTo>
                    <a:pt x="20941" y="30777"/>
                  </a:lnTo>
                  <a:lnTo>
                    <a:pt x="20941" y="43091"/>
                  </a:lnTo>
                  <a:lnTo>
                    <a:pt x="36122" y="63368"/>
                  </a:lnTo>
                  <a:lnTo>
                    <a:pt x="54788" y="63368"/>
                  </a:lnTo>
                  <a:lnTo>
                    <a:pt x="36004" y="40732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25BC7AA-D0EC-2DA4-0C0D-05C2B685C445}"/>
              </a:ext>
            </a:extLst>
          </p:cNvPr>
          <p:cNvGrpSpPr/>
          <p:nvPr userDrawn="1"/>
        </p:nvGrpSpPr>
        <p:grpSpPr>
          <a:xfrm>
            <a:off x="289932" y="6281977"/>
            <a:ext cx="11584177" cy="129643"/>
            <a:chOff x="-20516" y="2052871"/>
            <a:chExt cx="17746191" cy="198605"/>
          </a:xfrm>
        </p:grpSpPr>
        <p:sp>
          <p:nvSpPr>
            <p:cNvPr id="34" name="AutoShape 24">
              <a:extLst>
                <a:ext uri="{FF2B5EF4-FFF2-40B4-BE49-F238E27FC236}">
                  <a16:creationId xmlns:a16="http://schemas.microsoft.com/office/drawing/2014/main" id="{927F1638-79A9-718C-9E84-B64E242031A5}"/>
                </a:ext>
              </a:extLst>
            </p:cNvPr>
            <p:cNvSpPr/>
            <p:nvPr/>
          </p:nvSpPr>
          <p:spPr>
            <a:xfrm flipV="1">
              <a:off x="1032935" y="2052871"/>
              <a:ext cx="16692740" cy="0"/>
            </a:xfrm>
            <a:prstGeom prst="line">
              <a:avLst/>
            </a:prstGeom>
            <a:ln w="28575" cap="flat">
              <a:solidFill>
                <a:schemeClr val="bg1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ZA">
                <a:solidFill>
                  <a:srgbClr val="1D428A"/>
                </a:solidFill>
              </a:endParaRPr>
            </a:p>
          </p:txBody>
        </p:sp>
        <p:sp>
          <p:nvSpPr>
            <p:cNvPr id="35" name="AutoShape 24">
              <a:extLst>
                <a:ext uri="{FF2B5EF4-FFF2-40B4-BE49-F238E27FC236}">
                  <a16:creationId xmlns:a16="http://schemas.microsoft.com/office/drawing/2014/main" id="{5B7A8207-A501-B929-AB3D-8F1C1E8DDC4A}"/>
                </a:ext>
              </a:extLst>
            </p:cNvPr>
            <p:cNvSpPr/>
            <p:nvPr/>
          </p:nvSpPr>
          <p:spPr>
            <a:xfrm flipV="1">
              <a:off x="-20516" y="2052877"/>
              <a:ext cx="927307" cy="0"/>
            </a:xfrm>
            <a:prstGeom prst="line">
              <a:avLst/>
            </a:prstGeom>
            <a:ln w="28575" cap="flat">
              <a:solidFill>
                <a:schemeClr val="bg1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ZA">
                <a:solidFill>
                  <a:srgbClr val="1D428A"/>
                </a:solidFill>
              </a:endParaRPr>
            </a:p>
          </p:txBody>
        </p:sp>
        <p:sp>
          <p:nvSpPr>
            <p:cNvPr id="36" name="AutoShape 24">
              <a:extLst>
                <a:ext uri="{FF2B5EF4-FFF2-40B4-BE49-F238E27FC236}">
                  <a16:creationId xmlns:a16="http://schemas.microsoft.com/office/drawing/2014/main" id="{834BD0B0-886A-9983-7241-D2B2C047CB54}"/>
                </a:ext>
              </a:extLst>
            </p:cNvPr>
            <p:cNvSpPr/>
            <p:nvPr/>
          </p:nvSpPr>
          <p:spPr>
            <a:xfrm flipH="1" flipV="1">
              <a:off x="968334" y="2131093"/>
              <a:ext cx="0" cy="120383"/>
            </a:xfrm>
            <a:prstGeom prst="line">
              <a:avLst/>
            </a:prstGeom>
            <a:ln w="28575" cap="flat">
              <a:solidFill>
                <a:schemeClr val="bg1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ZA">
                <a:solidFill>
                  <a:srgbClr val="1D428A"/>
                </a:solidFill>
              </a:endParaRPr>
            </a:p>
          </p:txBody>
        </p:sp>
      </p:grp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BC99331-B409-8E98-AD01-FE237F35AF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7889" y="1050288"/>
            <a:ext cx="11556218" cy="3051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tabLst>
                <a:tab pos="1435100" algn="l"/>
              </a:tabLst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subheading tex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C5C5870-9A24-5A43-0B93-F0AB37EAC233}"/>
              </a:ext>
            </a:extLst>
          </p:cNvPr>
          <p:cNvSpPr txBox="1"/>
          <p:nvPr userDrawn="1"/>
        </p:nvSpPr>
        <p:spPr>
          <a:xfrm>
            <a:off x="3047114" y="6611779"/>
            <a:ext cx="609777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AU" sz="1000">
                <a:solidFill>
                  <a:schemeClr val="bg1"/>
                </a:solidFill>
              </a:rPr>
              <a:t>CONFIDENTIAL MATERIAL – DO NOT DISTRIBUTE </a:t>
            </a:r>
          </a:p>
        </p:txBody>
      </p:sp>
    </p:spTree>
    <p:extLst>
      <p:ext uri="{BB962C8B-B14F-4D97-AF65-F5344CB8AC3E}">
        <p14:creationId xmlns:p14="http://schemas.microsoft.com/office/powerpoint/2010/main" val="175011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5D1A88F-61A0-231F-8430-DA7CF8E3CE00}"/>
              </a:ext>
            </a:extLst>
          </p:cNvPr>
          <p:cNvSpPr/>
          <p:nvPr userDrawn="1"/>
        </p:nvSpPr>
        <p:spPr>
          <a:xfrm flipH="1">
            <a:off x="0" y="0"/>
            <a:ext cx="3641346" cy="6857999"/>
          </a:xfrm>
          <a:prstGeom prst="rect">
            <a:avLst/>
          </a:prstGeom>
          <a:solidFill>
            <a:srgbClr val="1D428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chemeClr val="bg1"/>
              </a:solidFill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1FD76B72-4720-0ABD-1A93-DD27F4DE28EB}"/>
              </a:ext>
            </a:extLst>
          </p:cNvPr>
          <p:cNvSpPr txBox="1">
            <a:spLocks/>
          </p:cNvSpPr>
          <p:nvPr userDrawn="1"/>
        </p:nvSpPr>
        <p:spPr>
          <a:xfrm>
            <a:off x="10925833" y="6419828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1E3C"/>
                </a:solidFill>
                <a:effectLst/>
                <a:uLnTx/>
                <a:uFillTx/>
                <a:latin typeface="Avenir Next LT Pro" panose="020B05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1E3C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7623BD8-56FB-11F9-4991-BBFAA39A65FF}"/>
              </a:ext>
            </a:extLst>
          </p:cNvPr>
          <p:cNvGrpSpPr/>
          <p:nvPr userDrawn="1"/>
        </p:nvGrpSpPr>
        <p:grpSpPr>
          <a:xfrm>
            <a:off x="289932" y="6281977"/>
            <a:ext cx="3072104" cy="266800"/>
            <a:chOff x="289932" y="6281977"/>
            <a:chExt cx="3072104" cy="266800"/>
          </a:xfrm>
          <a:solidFill>
            <a:schemeClr val="bg1"/>
          </a:solidFill>
        </p:grpSpPr>
        <p:grpSp>
          <p:nvGrpSpPr>
            <p:cNvPr id="15" name="Graphic 25">
              <a:extLst>
                <a:ext uri="{FF2B5EF4-FFF2-40B4-BE49-F238E27FC236}">
                  <a16:creationId xmlns:a16="http://schemas.microsoft.com/office/drawing/2014/main" id="{2344EBB8-3B14-5CEE-E3B0-6361146A7313}"/>
                </a:ext>
              </a:extLst>
            </p:cNvPr>
            <p:cNvGrpSpPr/>
            <p:nvPr/>
          </p:nvGrpSpPr>
          <p:grpSpPr>
            <a:xfrm>
              <a:off x="641802" y="6483229"/>
              <a:ext cx="588657" cy="65548"/>
              <a:chOff x="1552708" y="6590654"/>
              <a:chExt cx="588657" cy="65548"/>
            </a:xfrm>
            <a:grpFill/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54A2F3DA-5931-098B-8A08-F53F7EB61CF7}"/>
                  </a:ext>
                </a:extLst>
              </p:cNvPr>
              <p:cNvSpPr/>
              <p:nvPr/>
            </p:nvSpPr>
            <p:spPr>
              <a:xfrm>
                <a:off x="1552708" y="6591721"/>
                <a:ext cx="52512" cy="63379"/>
              </a:xfrm>
              <a:custGeom>
                <a:avLst/>
                <a:gdLst>
                  <a:gd name="connsiteX0" fmla="*/ 33231 w 52512"/>
                  <a:gd name="connsiteY0" fmla="*/ 12858 h 63379"/>
                  <a:gd name="connsiteX1" fmla="*/ 33231 w 52512"/>
                  <a:gd name="connsiteY1" fmla="*/ 63380 h 63379"/>
                  <a:gd name="connsiteX2" fmla="*/ 19282 w 52512"/>
                  <a:gd name="connsiteY2" fmla="*/ 63380 h 63379"/>
                  <a:gd name="connsiteX3" fmla="*/ 19282 w 52512"/>
                  <a:gd name="connsiteY3" fmla="*/ 12858 h 63379"/>
                  <a:gd name="connsiteX4" fmla="*/ 0 w 52512"/>
                  <a:gd name="connsiteY4" fmla="*/ 12858 h 63379"/>
                  <a:gd name="connsiteX5" fmla="*/ 0 w 52512"/>
                  <a:gd name="connsiteY5" fmla="*/ 0 h 63379"/>
                  <a:gd name="connsiteX6" fmla="*/ 52512 w 52512"/>
                  <a:gd name="connsiteY6" fmla="*/ 0 h 63379"/>
                  <a:gd name="connsiteX7" fmla="*/ 52512 w 52512"/>
                  <a:gd name="connsiteY7" fmla="*/ 12858 h 63379"/>
                  <a:gd name="connsiteX8" fmla="*/ 33231 w 52512"/>
                  <a:gd name="connsiteY8" fmla="*/ 12858 h 63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512" h="63379">
                    <a:moveTo>
                      <a:pt x="33231" y="12858"/>
                    </a:moveTo>
                    <a:lnTo>
                      <a:pt x="33231" y="63380"/>
                    </a:lnTo>
                    <a:lnTo>
                      <a:pt x="19282" y="63380"/>
                    </a:lnTo>
                    <a:lnTo>
                      <a:pt x="19282" y="12858"/>
                    </a:lnTo>
                    <a:lnTo>
                      <a:pt x="0" y="12858"/>
                    </a:lnTo>
                    <a:lnTo>
                      <a:pt x="0" y="0"/>
                    </a:lnTo>
                    <a:lnTo>
                      <a:pt x="52512" y="0"/>
                    </a:lnTo>
                    <a:lnTo>
                      <a:pt x="52512" y="12858"/>
                    </a:lnTo>
                    <a:lnTo>
                      <a:pt x="33231" y="12858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2DF2FEC6-0BB6-23E6-A7EF-D56C3B586D2A}"/>
                  </a:ext>
                </a:extLst>
              </p:cNvPr>
              <p:cNvSpPr/>
              <p:nvPr/>
            </p:nvSpPr>
            <p:spPr>
              <a:xfrm>
                <a:off x="1613113" y="6590654"/>
                <a:ext cx="67361" cy="65548"/>
              </a:xfrm>
              <a:custGeom>
                <a:avLst/>
                <a:gdLst>
                  <a:gd name="connsiteX0" fmla="*/ 64826 w 67361"/>
                  <a:gd name="connsiteY0" fmla="*/ 45485 h 65548"/>
                  <a:gd name="connsiteX1" fmla="*/ 57810 w 67361"/>
                  <a:gd name="connsiteY1" fmla="*/ 55902 h 65548"/>
                  <a:gd name="connsiteX2" fmla="*/ 47120 w 67361"/>
                  <a:gd name="connsiteY2" fmla="*/ 62965 h 65548"/>
                  <a:gd name="connsiteX3" fmla="*/ 33586 w 67361"/>
                  <a:gd name="connsiteY3" fmla="*/ 65548 h 65548"/>
                  <a:gd name="connsiteX4" fmla="*/ 20100 w 67361"/>
                  <a:gd name="connsiteY4" fmla="*/ 62965 h 65548"/>
                  <a:gd name="connsiteX5" fmla="*/ 9457 w 67361"/>
                  <a:gd name="connsiteY5" fmla="*/ 55996 h 65548"/>
                  <a:gd name="connsiteX6" fmla="*/ 2489 w 67361"/>
                  <a:gd name="connsiteY6" fmla="*/ 45674 h 65548"/>
                  <a:gd name="connsiteX7" fmla="*/ 0 w 67361"/>
                  <a:gd name="connsiteY7" fmla="*/ 32958 h 65548"/>
                  <a:gd name="connsiteX8" fmla="*/ 0 w 67361"/>
                  <a:gd name="connsiteY8" fmla="*/ 32780 h 65548"/>
                  <a:gd name="connsiteX9" fmla="*/ 2536 w 67361"/>
                  <a:gd name="connsiteY9" fmla="*/ 20064 h 65548"/>
                  <a:gd name="connsiteX10" fmla="*/ 9552 w 67361"/>
                  <a:gd name="connsiteY10" fmla="*/ 9647 h 65548"/>
                  <a:gd name="connsiteX11" fmla="*/ 20242 w 67361"/>
                  <a:gd name="connsiteY11" fmla="*/ 2584 h 65548"/>
                  <a:gd name="connsiteX12" fmla="*/ 33776 w 67361"/>
                  <a:gd name="connsiteY12" fmla="*/ 0 h 65548"/>
                  <a:gd name="connsiteX13" fmla="*/ 47262 w 67361"/>
                  <a:gd name="connsiteY13" fmla="*/ 2584 h 65548"/>
                  <a:gd name="connsiteX14" fmla="*/ 57905 w 67361"/>
                  <a:gd name="connsiteY14" fmla="*/ 9552 h 65548"/>
                  <a:gd name="connsiteX15" fmla="*/ 64873 w 67361"/>
                  <a:gd name="connsiteY15" fmla="*/ 19874 h 65548"/>
                  <a:gd name="connsiteX16" fmla="*/ 67362 w 67361"/>
                  <a:gd name="connsiteY16" fmla="*/ 32591 h 65548"/>
                  <a:gd name="connsiteX17" fmla="*/ 67362 w 67361"/>
                  <a:gd name="connsiteY17" fmla="*/ 32768 h 65548"/>
                  <a:gd name="connsiteX18" fmla="*/ 64826 w 67361"/>
                  <a:gd name="connsiteY18" fmla="*/ 45496 h 65548"/>
                  <a:gd name="connsiteX19" fmla="*/ 52785 w 67361"/>
                  <a:gd name="connsiteY19" fmla="*/ 32756 h 65548"/>
                  <a:gd name="connsiteX20" fmla="*/ 51387 w 67361"/>
                  <a:gd name="connsiteY20" fmla="*/ 25065 h 65548"/>
                  <a:gd name="connsiteX21" fmla="*/ 47405 w 67361"/>
                  <a:gd name="connsiteY21" fmla="*/ 18725 h 65548"/>
                  <a:gd name="connsiteX22" fmla="*/ 41289 w 67361"/>
                  <a:gd name="connsiteY22" fmla="*/ 14423 h 65548"/>
                  <a:gd name="connsiteX23" fmla="*/ 33598 w 67361"/>
                  <a:gd name="connsiteY23" fmla="*/ 12835 h 65548"/>
                  <a:gd name="connsiteX24" fmla="*/ 25859 w 67361"/>
                  <a:gd name="connsiteY24" fmla="*/ 14375 h 65548"/>
                  <a:gd name="connsiteX25" fmla="*/ 19886 w 67361"/>
                  <a:gd name="connsiteY25" fmla="*/ 18630 h 65548"/>
                  <a:gd name="connsiteX26" fmla="*/ 15987 w 67361"/>
                  <a:gd name="connsiteY26" fmla="*/ 24923 h 65548"/>
                  <a:gd name="connsiteX27" fmla="*/ 14589 w 67361"/>
                  <a:gd name="connsiteY27" fmla="*/ 32579 h 65548"/>
                  <a:gd name="connsiteX28" fmla="*/ 14589 w 67361"/>
                  <a:gd name="connsiteY28" fmla="*/ 32756 h 65548"/>
                  <a:gd name="connsiteX29" fmla="*/ 15987 w 67361"/>
                  <a:gd name="connsiteY29" fmla="*/ 40448 h 65548"/>
                  <a:gd name="connsiteX30" fmla="*/ 19969 w 67361"/>
                  <a:gd name="connsiteY30" fmla="*/ 46788 h 65548"/>
                  <a:gd name="connsiteX31" fmla="*/ 26037 w 67361"/>
                  <a:gd name="connsiteY31" fmla="*/ 51090 h 65548"/>
                  <a:gd name="connsiteX32" fmla="*/ 33776 w 67361"/>
                  <a:gd name="connsiteY32" fmla="*/ 52678 h 65548"/>
                  <a:gd name="connsiteX33" fmla="*/ 41467 w 67361"/>
                  <a:gd name="connsiteY33" fmla="*/ 51138 h 65548"/>
                  <a:gd name="connsiteX34" fmla="*/ 47487 w 67361"/>
                  <a:gd name="connsiteY34" fmla="*/ 46883 h 65548"/>
                  <a:gd name="connsiteX35" fmla="*/ 51387 w 67361"/>
                  <a:gd name="connsiteY35" fmla="*/ 40590 h 65548"/>
                  <a:gd name="connsiteX36" fmla="*/ 52785 w 67361"/>
                  <a:gd name="connsiteY36" fmla="*/ 32934 h 65548"/>
                  <a:gd name="connsiteX37" fmla="*/ 52785 w 67361"/>
                  <a:gd name="connsiteY37" fmla="*/ 32756 h 65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7361" h="65548">
                    <a:moveTo>
                      <a:pt x="64826" y="45485"/>
                    </a:moveTo>
                    <a:cubicBezTo>
                      <a:pt x="63131" y="49443"/>
                      <a:pt x="60796" y="52903"/>
                      <a:pt x="57810" y="55902"/>
                    </a:cubicBezTo>
                    <a:cubicBezTo>
                      <a:pt x="54823" y="58900"/>
                      <a:pt x="51256" y="61247"/>
                      <a:pt x="47120" y="62965"/>
                    </a:cubicBezTo>
                    <a:cubicBezTo>
                      <a:pt x="42984" y="64683"/>
                      <a:pt x="38469" y="65548"/>
                      <a:pt x="33586" y="65548"/>
                    </a:cubicBezTo>
                    <a:cubicBezTo>
                      <a:pt x="28703" y="65548"/>
                      <a:pt x="24200" y="64683"/>
                      <a:pt x="20100" y="62965"/>
                    </a:cubicBezTo>
                    <a:cubicBezTo>
                      <a:pt x="15999" y="61247"/>
                      <a:pt x="12444" y="58924"/>
                      <a:pt x="9457" y="55996"/>
                    </a:cubicBezTo>
                    <a:cubicBezTo>
                      <a:pt x="6471" y="53069"/>
                      <a:pt x="4148" y="49632"/>
                      <a:pt x="2489" y="45674"/>
                    </a:cubicBezTo>
                    <a:cubicBezTo>
                      <a:pt x="830" y="41716"/>
                      <a:pt x="0" y="37485"/>
                      <a:pt x="0" y="32958"/>
                    </a:cubicBezTo>
                    <a:lnTo>
                      <a:pt x="0" y="32780"/>
                    </a:lnTo>
                    <a:cubicBezTo>
                      <a:pt x="0" y="28253"/>
                      <a:pt x="841" y="24010"/>
                      <a:pt x="2536" y="20064"/>
                    </a:cubicBezTo>
                    <a:cubicBezTo>
                      <a:pt x="4231" y="16118"/>
                      <a:pt x="6566" y="12645"/>
                      <a:pt x="9552" y="9647"/>
                    </a:cubicBezTo>
                    <a:cubicBezTo>
                      <a:pt x="12539" y="6660"/>
                      <a:pt x="16106" y="4302"/>
                      <a:pt x="20242" y="2584"/>
                    </a:cubicBezTo>
                    <a:cubicBezTo>
                      <a:pt x="24378" y="865"/>
                      <a:pt x="28893" y="0"/>
                      <a:pt x="33776" y="0"/>
                    </a:cubicBezTo>
                    <a:cubicBezTo>
                      <a:pt x="38658" y="0"/>
                      <a:pt x="43162" y="865"/>
                      <a:pt x="47262" y="2584"/>
                    </a:cubicBezTo>
                    <a:cubicBezTo>
                      <a:pt x="51363" y="4302"/>
                      <a:pt x="54918" y="6625"/>
                      <a:pt x="57905" y="9552"/>
                    </a:cubicBezTo>
                    <a:cubicBezTo>
                      <a:pt x="60891" y="12479"/>
                      <a:pt x="63214" y="15916"/>
                      <a:pt x="64873" y="19874"/>
                    </a:cubicBezTo>
                    <a:cubicBezTo>
                      <a:pt x="66532" y="23833"/>
                      <a:pt x="67362" y="28063"/>
                      <a:pt x="67362" y="32591"/>
                    </a:cubicBezTo>
                    <a:lnTo>
                      <a:pt x="67362" y="32768"/>
                    </a:lnTo>
                    <a:cubicBezTo>
                      <a:pt x="67362" y="37295"/>
                      <a:pt x="66520" y="41538"/>
                      <a:pt x="64826" y="45496"/>
                    </a:cubicBezTo>
                    <a:close/>
                    <a:moveTo>
                      <a:pt x="52785" y="32756"/>
                    </a:moveTo>
                    <a:cubicBezTo>
                      <a:pt x="52785" y="30043"/>
                      <a:pt x="52323" y="27471"/>
                      <a:pt x="51387" y="25065"/>
                    </a:cubicBezTo>
                    <a:cubicBezTo>
                      <a:pt x="50450" y="22647"/>
                      <a:pt x="49123" y="20538"/>
                      <a:pt x="47405" y="18725"/>
                    </a:cubicBezTo>
                    <a:cubicBezTo>
                      <a:pt x="45686" y="16912"/>
                      <a:pt x="43648" y="15478"/>
                      <a:pt x="41289" y="14423"/>
                    </a:cubicBezTo>
                    <a:cubicBezTo>
                      <a:pt x="38931" y="13368"/>
                      <a:pt x="36371" y="12835"/>
                      <a:pt x="33598" y="12835"/>
                    </a:cubicBezTo>
                    <a:cubicBezTo>
                      <a:pt x="30825" y="12835"/>
                      <a:pt x="28182" y="13344"/>
                      <a:pt x="25859" y="14375"/>
                    </a:cubicBezTo>
                    <a:cubicBezTo>
                      <a:pt x="23536" y="15406"/>
                      <a:pt x="21545" y="16817"/>
                      <a:pt x="19886" y="18630"/>
                    </a:cubicBezTo>
                    <a:cubicBezTo>
                      <a:pt x="18227" y="20443"/>
                      <a:pt x="16923" y="22541"/>
                      <a:pt x="15987" y="24923"/>
                    </a:cubicBezTo>
                    <a:cubicBezTo>
                      <a:pt x="15051" y="27305"/>
                      <a:pt x="14589" y="29853"/>
                      <a:pt x="14589" y="32579"/>
                    </a:cubicBezTo>
                    <a:lnTo>
                      <a:pt x="14589" y="32756"/>
                    </a:lnTo>
                    <a:cubicBezTo>
                      <a:pt x="14589" y="35470"/>
                      <a:pt x="15051" y="38042"/>
                      <a:pt x="15987" y="40448"/>
                    </a:cubicBezTo>
                    <a:cubicBezTo>
                      <a:pt x="16923" y="42865"/>
                      <a:pt x="18251" y="44975"/>
                      <a:pt x="19969" y="46788"/>
                    </a:cubicBezTo>
                    <a:cubicBezTo>
                      <a:pt x="21688" y="48601"/>
                      <a:pt x="23714" y="50035"/>
                      <a:pt x="26037" y="51090"/>
                    </a:cubicBezTo>
                    <a:cubicBezTo>
                      <a:pt x="28360" y="52145"/>
                      <a:pt x="30943" y="52678"/>
                      <a:pt x="33776" y="52678"/>
                    </a:cubicBezTo>
                    <a:cubicBezTo>
                      <a:pt x="36608" y="52678"/>
                      <a:pt x="39121" y="52169"/>
                      <a:pt x="41467" y="51138"/>
                    </a:cubicBezTo>
                    <a:cubicBezTo>
                      <a:pt x="43825" y="50106"/>
                      <a:pt x="45828" y="48696"/>
                      <a:pt x="47487" y="46883"/>
                    </a:cubicBezTo>
                    <a:cubicBezTo>
                      <a:pt x="49147" y="45070"/>
                      <a:pt x="50450" y="42972"/>
                      <a:pt x="51387" y="40590"/>
                    </a:cubicBezTo>
                    <a:cubicBezTo>
                      <a:pt x="52323" y="38208"/>
                      <a:pt x="52785" y="35660"/>
                      <a:pt x="52785" y="32934"/>
                    </a:cubicBezTo>
                    <a:lnTo>
                      <a:pt x="52785" y="32756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78E4683A-D662-4290-D908-79855495886A}"/>
                  </a:ext>
                </a:extLst>
              </p:cNvPr>
              <p:cNvSpPr/>
              <p:nvPr/>
            </p:nvSpPr>
            <p:spPr>
              <a:xfrm>
                <a:off x="1692871" y="6591709"/>
                <a:ext cx="63379" cy="63391"/>
              </a:xfrm>
              <a:custGeom>
                <a:avLst/>
                <a:gdLst>
                  <a:gd name="connsiteX0" fmla="*/ 49621 w 63379"/>
                  <a:gd name="connsiteY0" fmla="*/ 63392 h 63391"/>
                  <a:gd name="connsiteX1" fmla="*/ 49621 w 63379"/>
                  <a:gd name="connsiteY1" fmla="*/ 22008 h 63391"/>
                  <a:gd name="connsiteX2" fmla="*/ 31785 w 63379"/>
                  <a:gd name="connsiteY2" fmla="*/ 49075 h 63391"/>
                  <a:gd name="connsiteX3" fmla="*/ 31417 w 63379"/>
                  <a:gd name="connsiteY3" fmla="*/ 49075 h 63391"/>
                  <a:gd name="connsiteX4" fmla="*/ 13759 w 63379"/>
                  <a:gd name="connsiteY4" fmla="*/ 22268 h 63391"/>
                  <a:gd name="connsiteX5" fmla="*/ 13759 w 63379"/>
                  <a:gd name="connsiteY5" fmla="*/ 63380 h 63391"/>
                  <a:gd name="connsiteX6" fmla="*/ 0 w 63379"/>
                  <a:gd name="connsiteY6" fmla="*/ 63380 h 63391"/>
                  <a:gd name="connsiteX7" fmla="*/ 0 w 63379"/>
                  <a:gd name="connsiteY7" fmla="*/ 0 h 63391"/>
                  <a:gd name="connsiteX8" fmla="*/ 15027 w 63379"/>
                  <a:gd name="connsiteY8" fmla="*/ 0 h 63391"/>
                  <a:gd name="connsiteX9" fmla="*/ 31690 w 63379"/>
                  <a:gd name="connsiteY9" fmla="*/ 26807 h 63391"/>
                  <a:gd name="connsiteX10" fmla="*/ 48353 w 63379"/>
                  <a:gd name="connsiteY10" fmla="*/ 0 h 63391"/>
                  <a:gd name="connsiteX11" fmla="*/ 63380 w 63379"/>
                  <a:gd name="connsiteY11" fmla="*/ 0 h 63391"/>
                  <a:gd name="connsiteX12" fmla="*/ 63380 w 63379"/>
                  <a:gd name="connsiteY12" fmla="*/ 63380 h 63391"/>
                  <a:gd name="connsiteX13" fmla="*/ 49621 w 63379"/>
                  <a:gd name="connsiteY13" fmla="*/ 63380 h 63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3379" h="63391">
                    <a:moveTo>
                      <a:pt x="49621" y="63392"/>
                    </a:moveTo>
                    <a:lnTo>
                      <a:pt x="49621" y="22008"/>
                    </a:lnTo>
                    <a:lnTo>
                      <a:pt x="31785" y="49075"/>
                    </a:lnTo>
                    <a:lnTo>
                      <a:pt x="31417" y="49075"/>
                    </a:lnTo>
                    <a:lnTo>
                      <a:pt x="13759" y="22268"/>
                    </a:lnTo>
                    <a:lnTo>
                      <a:pt x="13759" y="63380"/>
                    </a:lnTo>
                    <a:lnTo>
                      <a:pt x="0" y="63380"/>
                    </a:lnTo>
                    <a:lnTo>
                      <a:pt x="0" y="0"/>
                    </a:lnTo>
                    <a:lnTo>
                      <a:pt x="15027" y="0"/>
                    </a:lnTo>
                    <a:lnTo>
                      <a:pt x="31690" y="26807"/>
                    </a:lnTo>
                    <a:lnTo>
                      <a:pt x="48353" y="0"/>
                    </a:lnTo>
                    <a:lnTo>
                      <a:pt x="63380" y="0"/>
                    </a:lnTo>
                    <a:lnTo>
                      <a:pt x="63380" y="63380"/>
                    </a:lnTo>
                    <a:lnTo>
                      <a:pt x="49621" y="63380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A1F9616A-3A89-2687-5759-2F8EE7D8381E}"/>
                  </a:ext>
                </a:extLst>
              </p:cNvPr>
              <p:cNvSpPr/>
              <p:nvPr/>
            </p:nvSpPr>
            <p:spPr>
              <a:xfrm>
                <a:off x="1768671" y="6590654"/>
                <a:ext cx="67361" cy="65548"/>
              </a:xfrm>
              <a:custGeom>
                <a:avLst/>
                <a:gdLst>
                  <a:gd name="connsiteX0" fmla="*/ 64826 w 67361"/>
                  <a:gd name="connsiteY0" fmla="*/ 45485 h 65548"/>
                  <a:gd name="connsiteX1" fmla="*/ 57810 w 67361"/>
                  <a:gd name="connsiteY1" fmla="*/ 55902 h 65548"/>
                  <a:gd name="connsiteX2" fmla="*/ 47120 w 67361"/>
                  <a:gd name="connsiteY2" fmla="*/ 62965 h 65548"/>
                  <a:gd name="connsiteX3" fmla="*/ 33586 w 67361"/>
                  <a:gd name="connsiteY3" fmla="*/ 65548 h 65548"/>
                  <a:gd name="connsiteX4" fmla="*/ 20100 w 67361"/>
                  <a:gd name="connsiteY4" fmla="*/ 62965 h 65548"/>
                  <a:gd name="connsiteX5" fmla="*/ 9457 w 67361"/>
                  <a:gd name="connsiteY5" fmla="*/ 55996 h 65548"/>
                  <a:gd name="connsiteX6" fmla="*/ 2489 w 67361"/>
                  <a:gd name="connsiteY6" fmla="*/ 45674 h 65548"/>
                  <a:gd name="connsiteX7" fmla="*/ 0 w 67361"/>
                  <a:gd name="connsiteY7" fmla="*/ 32958 h 65548"/>
                  <a:gd name="connsiteX8" fmla="*/ 0 w 67361"/>
                  <a:gd name="connsiteY8" fmla="*/ 32780 h 65548"/>
                  <a:gd name="connsiteX9" fmla="*/ 2536 w 67361"/>
                  <a:gd name="connsiteY9" fmla="*/ 20064 h 65548"/>
                  <a:gd name="connsiteX10" fmla="*/ 9552 w 67361"/>
                  <a:gd name="connsiteY10" fmla="*/ 9647 h 65548"/>
                  <a:gd name="connsiteX11" fmla="*/ 20242 w 67361"/>
                  <a:gd name="connsiteY11" fmla="*/ 2584 h 65548"/>
                  <a:gd name="connsiteX12" fmla="*/ 33776 w 67361"/>
                  <a:gd name="connsiteY12" fmla="*/ 0 h 65548"/>
                  <a:gd name="connsiteX13" fmla="*/ 47262 w 67361"/>
                  <a:gd name="connsiteY13" fmla="*/ 2584 h 65548"/>
                  <a:gd name="connsiteX14" fmla="*/ 57905 w 67361"/>
                  <a:gd name="connsiteY14" fmla="*/ 9552 h 65548"/>
                  <a:gd name="connsiteX15" fmla="*/ 64873 w 67361"/>
                  <a:gd name="connsiteY15" fmla="*/ 19874 h 65548"/>
                  <a:gd name="connsiteX16" fmla="*/ 67362 w 67361"/>
                  <a:gd name="connsiteY16" fmla="*/ 32591 h 65548"/>
                  <a:gd name="connsiteX17" fmla="*/ 67362 w 67361"/>
                  <a:gd name="connsiteY17" fmla="*/ 32768 h 65548"/>
                  <a:gd name="connsiteX18" fmla="*/ 64826 w 67361"/>
                  <a:gd name="connsiteY18" fmla="*/ 45496 h 65548"/>
                  <a:gd name="connsiteX19" fmla="*/ 52785 w 67361"/>
                  <a:gd name="connsiteY19" fmla="*/ 32756 h 65548"/>
                  <a:gd name="connsiteX20" fmla="*/ 51387 w 67361"/>
                  <a:gd name="connsiteY20" fmla="*/ 25065 h 65548"/>
                  <a:gd name="connsiteX21" fmla="*/ 47405 w 67361"/>
                  <a:gd name="connsiteY21" fmla="*/ 18725 h 65548"/>
                  <a:gd name="connsiteX22" fmla="*/ 41289 w 67361"/>
                  <a:gd name="connsiteY22" fmla="*/ 14423 h 65548"/>
                  <a:gd name="connsiteX23" fmla="*/ 33598 w 67361"/>
                  <a:gd name="connsiteY23" fmla="*/ 12835 h 65548"/>
                  <a:gd name="connsiteX24" fmla="*/ 25859 w 67361"/>
                  <a:gd name="connsiteY24" fmla="*/ 14375 h 65548"/>
                  <a:gd name="connsiteX25" fmla="*/ 19886 w 67361"/>
                  <a:gd name="connsiteY25" fmla="*/ 18630 h 65548"/>
                  <a:gd name="connsiteX26" fmla="*/ 15987 w 67361"/>
                  <a:gd name="connsiteY26" fmla="*/ 24923 h 65548"/>
                  <a:gd name="connsiteX27" fmla="*/ 14589 w 67361"/>
                  <a:gd name="connsiteY27" fmla="*/ 32579 h 65548"/>
                  <a:gd name="connsiteX28" fmla="*/ 14589 w 67361"/>
                  <a:gd name="connsiteY28" fmla="*/ 32756 h 65548"/>
                  <a:gd name="connsiteX29" fmla="*/ 15987 w 67361"/>
                  <a:gd name="connsiteY29" fmla="*/ 40448 h 65548"/>
                  <a:gd name="connsiteX30" fmla="*/ 19969 w 67361"/>
                  <a:gd name="connsiteY30" fmla="*/ 46788 h 65548"/>
                  <a:gd name="connsiteX31" fmla="*/ 26037 w 67361"/>
                  <a:gd name="connsiteY31" fmla="*/ 51090 h 65548"/>
                  <a:gd name="connsiteX32" fmla="*/ 33776 w 67361"/>
                  <a:gd name="connsiteY32" fmla="*/ 52678 h 65548"/>
                  <a:gd name="connsiteX33" fmla="*/ 41467 w 67361"/>
                  <a:gd name="connsiteY33" fmla="*/ 51138 h 65548"/>
                  <a:gd name="connsiteX34" fmla="*/ 47488 w 67361"/>
                  <a:gd name="connsiteY34" fmla="*/ 46883 h 65548"/>
                  <a:gd name="connsiteX35" fmla="*/ 51387 w 67361"/>
                  <a:gd name="connsiteY35" fmla="*/ 40590 h 65548"/>
                  <a:gd name="connsiteX36" fmla="*/ 52785 w 67361"/>
                  <a:gd name="connsiteY36" fmla="*/ 32934 h 65548"/>
                  <a:gd name="connsiteX37" fmla="*/ 52785 w 67361"/>
                  <a:gd name="connsiteY37" fmla="*/ 32756 h 65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7361" h="65548">
                    <a:moveTo>
                      <a:pt x="64826" y="45485"/>
                    </a:moveTo>
                    <a:cubicBezTo>
                      <a:pt x="63131" y="49443"/>
                      <a:pt x="60796" y="52903"/>
                      <a:pt x="57810" y="55902"/>
                    </a:cubicBezTo>
                    <a:cubicBezTo>
                      <a:pt x="54823" y="58900"/>
                      <a:pt x="51256" y="61247"/>
                      <a:pt x="47120" y="62965"/>
                    </a:cubicBezTo>
                    <a:cubicBezTo>
                      <a:pt x="42984" y="64683"/>
                      <a:pt x="38469" y="65548"/>
                      <a:pt x="33586" y="65548"/>
                    </a:cubicBezTo>
                    <a:cubicBezTo>
                      <a:pt x="28703" y="65548"/>
                      <a:pt x="24200" y="64683"/>
                      <a:pt x="20100" y="62965"/>
                    </a:cubicBezTo>
                    <a:cubicBezTo>
                      <a:pt x="15999" y="61247"/>
                      <a:pt x="12444" y="58924"/>
                      <a:pt x="9457" y="55996"/>
                    </a:cubicBezTo>
                    <a:cubicBezTo>
                      <a:pt x="6471" y="53069"/>
                      <a:pt x="4148" y="49632"/>
                      <a:pt x="2489" y="45674"/>
                    </a:cubicBezTo>
                    <a:cubicBezTo>
                      <a:pt x="830" y="41716"/>
                      <a:pt x="0" y="37485"/>
                      <a:pt x="0" y="32958"/>
                    </a:cubicBezTo>
                    <a:lnTo>
                      <a:pt x="0" y="32780"/>
                    </a:lnTo>
                    <a:cubicBezTo>
                      <a:pt x="0" y="28253"/>
                      <a:pt x="841" y="24010"/>
                      <a:pt x="2536" y="20064"/>
                    </a:cubicBezTo>
                    <a:cubicBezTo>
                      <a:pt x="4231" y="16118"/>
                      <a:pt x="6566" y="12645"/>
                      <a:pt x="9552" y="9647"/>
                    </a:cubicBezTo>
                    <a:cubicBezTo>
                      <a:pt x="12539" y="6660"/>
                      <a:pt x="16106" y="4302"/>
                      <a:pt x="20242" y="2584"/>
                    </a:cubicBezTo>
                    <a:cubicBezTo>
                      <a:pt x="24378" y="865"/>
                      <a:pt x="28893" y="0"/>
                      <a:pt x="33776" y="0"/>
                    </a:cubicBezTo>
                    <a:cubicBezTo>
                      <a:pt x="38658" y="0"/>
                      <a:pt x="43162" y="865"/>
                      <a:pt x="47262" y="2584"/>
                    </a:cubicBezTo>
                    <a:cubicBezTo>
                      <a:pt x="51363" y="4302"/>
                      <a:pt x="54918" y="6625"/>
                      <a:pt x="57905" y="9552"/>
                    </a:cubicBezTo>
                    <a:cubicBezTo>
                      <a:pt x="60891" y="12479"/>
                      <a:pt x="63214" y="15916"/>
                      <a:pt x="64873" y="19874"/>
                    </a:cubicBezTo>
                    <a:cubicBezTo>
                      <a:pt x="66532" y="23833"/>
                      <a:pt x="67362" y="28063"/>
                      <a:pt x="67362" y="32591"/>
                    </a:cubicBezTo>
                    <a:lnTo>
                      <a:pt x="67362" y="32768"/>
                    </a:lnTo>
                    <a:cubicBezTo>
                      <a:pt x="67362" y="37295"/>
                      <a:pt x="66520" y="41538"/>
                      <a:pt x="64826" y="45496"/>
                    </a:cubicBezTo>
                    <a:close/>
                    <a:moveTo>
                      <a:pt x="52785" y="32756"/>
                    </a:moveTo>
                    <a:cubicBezTo>
                      <a:pt x="52785" y="30043"/>
                      <a:pt x="52323" y="27471"/>
                      <a:pt x="51387" y="25065"/>
                    </a:cubicBezTo>
                    <a:cubicBezTo>
                      <a:pt x="50450" y="22647"/>
                      <a:pt x="49123" y="20538"/>
                      <a:pt x="47405" y="18725"/>
                    </a:cubicBezTo>
                    <a:cubicBezTo>
                      <a:pt x="45686" y="16912"/>
                      <a:pt x="43648" y="15478"/>
                      <a:pt x="41289" y="14423"/>
                    </a:cubicBezTo>
                    <a:cubicBezTo>
                      <a:pt x="38931" y="13368"/>
                      <a:pt x="36371" y="12835"/>
                      <a:pt x="33598" y="12835"/>
                    </a:cubicBezTo>
                    <a:cubicBezTo>
                      <a:pt x="30825" y="12835"/>
                      <a:pt x="28182" y="13344"/>
                      <a:pt x="25859" y="14375"/>
                    </a:cubicBezTo>
                    <a:cubicBezTo>
                      <a:pt x="23536" y="15406"/>
                      <a:pt x="21545" y="16817"/>
                      <a:pt x="19886" y="18630"/>
                    </a:cubicBezTo>
                    <a:cubicBezTo>
                      <a:pt x="18227" y="20443"/>
                      <a:pt x="16923" y="22541"/>
                      <a:pt x="15987" y="24923"/>
                    </a:cubicBezTo>
                    <a:cubicBezTo>
                      <a:pt x="15051" y="27305"/>
                      <a:pt x="14589" y="29853"/>
                      <a:pt x="14589" y="32579"/>
                    </a:cubicBezTo>
                    <a:lnTo>
                      <a:pt x="14589" y="32756"/>
                    </a:lnTo>
                    <a:cubicBezTo>
                      <a:pt x="14589" y="35470"/>
                      <a:pt x="15051" y="38042"/>
                      <a:pt x="15987" y="40448"/>
                    </a:cubicBezTo>
                    <a:cubicBezTo>
                      <a:pt x="16923" y="42865"/>
                      <a:pt x="18251" y="44975"/>
                      <a:pt x="19969" y="46788"/>
                    </a:cubicBezTo>
                    <a:cubicBezTo>
                      <a:pt x="21688" y="48601"/>
                      <a:pt x="23714" y="50035"/>
                      <a:pt x="26037" y="51090"/>
                    </a:cubicBezTo>
                    <a:cubicBezTo>
                      <a:pt x="28360" y="52145"/>
                      <a:pt x="30943" y="52678"/>
                      <a:pt x="33776" y="52678"/>
                    </a:cubicBezTo>
                    <a:cubicBezTo>
                      <a:pt x="36608" y="52678"/>
                      <a:pt x="39121" y="52169"/>
                      <a:pt x="41467" y="51138"/>
                    </a:cubicBezTo>
                    <a:cubicBezTo>
                      <a:pt x="43826" y="50106"/>
                      <a:pt x="45828" y="48696"/>
                      <a:pt x="47488" y="46883"/>
                    </a:cubicBezTo>
                    <a:cubicBezTo>
                      <a:pt x="49147" y="45070"/>
                      <a:pt x="50450" y="42972"/>
                      <a:pt x="51387" y="40590"/>
                    </a:cubicBezTo>
                    <a:cubicBezTo>
                      <a:pt x="52323" y="38208"/>
                      <a:pt x="52785" y="35660"/>
                      <a:pt x="52785" y="32934"/>
                    </a:cubicBezTo>
                    <a:lnTo>
                      <a:pt x="52785" y="32756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AFF6907E-2FEF-A4FC-C034-325104EEFC44}"/>
                  </a:ext>
                </a:extLst>
              </p:cNvPr>
              <p:cNvSpPr/>
              <p:nvPr/>
            </p:nvSpPr>
            <p:spPr>
              <a:xfrm>
                <a:off x="1976552" y="6590654"/>
                <a:ext cx="67361" cy="65548"/>
              </a:xfrm>
              <a:custGeom>
                <a:avLst/>
                <a:gdLst>
                  <a:gd name="connsiteX0" fmla="*/ 64826 w 67361"/>
                  <a:gd name="connsiteY0" fmla="*/ 45485 h 65548"/>
                  <a:gd name="connsiteX1" fmla="*/ 57810 w 67361"/>
                  <a:gd name="connsiteY1" fmla="*/ 55902 h 65548"/>
                  <a:gd name="connsiteX2" fmla="*/ 47120 w 67361"/>
                  <a:gd name="connsiteY2" fmla="*/ 62965 h 65548"/>
                  <a:gd name="connsiteX3" fmla="*/ 33586 w 67361"/>
                  <a:gd name="connsiteY3" fmla="*/ 65548 h 65548"/>
                  <a:gd name="connsiteX4" fmla="*/ 20099 w 67361"/>
                  <a:gd name="connsiteY4" fmla="*/ 62965 h 65548"/>
                  <a:gd name="connsiteX5" fmla="*/ 9457 w 67361"/>
                  <a:gd name="connsiteY5" fmla="*/ 55996 h 65548"/>
                  <a:gd name="connsiteX6" fmla="*/ 2489 w 67361"/>
                  <a:gd name="connsiteY6" fmla="*/ 45674 h 65548"/>
                  <a:gd name="connsiteX7" fmla="*/ 0 w 67361"/>
                  <a:gd name="connsiteY7" fmla="*/ 32958 h 65548"/>
                  <a:gd name="connsiteX8" fmla="*/ 0 w 67361"/>
                  <a:gd name="connsiteY8" fmla="*/ 32780 h 65548"/>
                  <a:gd name="connsiteX9" fmla="*/ 2536 w 67361"/>
                  <a:gd name="connsiteY9" fmla="*/ 20064 h 65548"/>
                  <a:gd name="connsiteX10" fmla="*/ 9552 w 67361"/>
                  <a:gd name="connsiteY10" fmla="*/ 9647 h 65548"/>
                  <a:gd name="connsiteX11" fmla="*/ 20242 w 67361"/>
                  <a:gd name="connsiteY11" fmla="*/ 2584 h 65548"/>
                  <a:gd name="connsiteX12" fmla="*/ 33776 w 67361"/>
                  <a:gd name="connsiteY12" fmla="*/ 0 h 65548"/>
                  <a:gd name="connsiteX13" fmla="*/ 47262 w 67361"/>
                  <a:gd name="connsiteY13" fmla="*/ 2584 h 65548"/>
                  <a:gd name="connsiteX14" fmla="*/ 57905 w 67361"/>
                  <a:gd name="connsiteY14" fmla="*/ 9552 h 65548"/>
                  <a:gd name="connsiteX15" fmla="*/ 64873 w 67361"/>
                  <a:gd name="connsiteY15" fmla="*/ 19874 h 65548"/>
                  <a:gd name="connsiteX16" fmla="*/ 67362 w 67361"/>
                  <a:gd name="connsiteY16" fmla="*/ 32591 h 65548"/>
                  <a:gd name="connsiteX17" fmla="*/ 67362 w 67361"/>
                  <a:gd name="connsiteY17" fmla="*/ 32768 h 65548"/>
                  <a:gd name="connsiteX18" fmla="*/ 64826 w 67361"/>
                  <a:gd name="connsiteY18" fmla="*/ 45496 h 65548"/>
                  <a:gd name="connsiteX19" fmla="*/ 52785 w 67361"/>
                  <a:gd name="connsiteY19" fmla="*/ 32756 h 65548"/>
                  <a:gd name="connsiteX20" fmla="*/ 51387 w 67361"/>
                  <a:gd name="connsiteY20" fmla="*/ 25065 h 65548"/>
                  <a:gd name="connsiteX21" fmla="*/ 47405 w 67361"/>
                  <a:gd name="connsiteY21" fmla="*/ 18725 h 65548"/>
                  <a:gd name="connsiteX22" fmla="*/ 41289 w 67361"/>
                  <a:gd name="connsiteY22" fmla="*/ 14423 h 65548"/>
                  <a:gd name="connsiteX23" fmla="*/ 33598 w 67361"/>
                  <a:gd name="connsiteY23" fmla="*/ 12835 h 65548"/>
                  <a:gd name="connsiteX24" fmla="*/ 25859 w 67361"/>
                  <a:gd name="connsiteY24" fmla="*/ 14375 h 65548"/>
                  <a:gd name="connsiteX25" fmla="*/ 19886 w 67361"/>
                  <a:gd name="connsiteY25" fmla="*/ 18630 h 65548"/>
                  <a:gd name="connsiteX26" fmla="*/ 15987 w 67361"/>
                  <a:gd name="connsiteY26" fmla="*/ 24923 h 65548"/>
                  <a:gd name="connsiteX27" fmla="*/ 14589 w 67361"/>
                  <a:gd name="connsiteY27" fmla="*/ 32579 h 65548"/>
                  <a:gd name="connsiteX28" fmla="*/ 14589 w 67361"/>
                  <a:gd name="connsiteY28" fmla="*/ 32756 h 65548"/>
                  <a:gd name="connsiteX29" fmla="*/ 15987 w 67361"/>
                  <a:gd name="connsiteY29" fmla="*/ 40448 h 65548"/>
                  <a:gd name="connsiteX30" fmla="*/ 19969 w 67361"/>
                  <a:gd name="connsiteY30" fmla="*/ 46788 h 65548"/>
                  <a:gd name="connsiteX31" fmla="*/ 26037 w 67361"/>
                  <a:gd name="connsiteY31" fmla="*/ 51090 h 65548"/>
                  <a:gd name="connsiteX32" fmla="*/ 33776 w 67361"/>
                  <a:gd name="connsiteY32" fmla="*/ 52678 h 65548"/>
                  <a:gd name="connsiteX33" fmla="*/ 41467 w 67361"/>
                  <a:gd name="connsiteY33" fmla="*/ 51138 h 65548"/>
                  <a:gd name="connsiteX34" fmla="*/ 47487 w 67361"/>
                  <a:gd name="connsiteY34" fmla="*/ 46883 h 65548"/>
                  <a:gd name="connsiteX35" fmla="*/ 51387 w 67361"/>
                  <a:gd name="connsiteY35" fmla="*/ 40590 h 65548"/>
                  <a:gd name="connsiteX36" fmla="*/ 52785 w 67361"/>
                  <a:gd name="connsiteY36" fmla="*/ 32934 h 65548"/>
                  <a:gd name="connsiteX37" fmla="*/ 52785 w 67361"/>
                  <a:gd name="connsiteY37" fmla="*/ 32756 h 65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7361" h="65548">
                    <a:moveTo>
                      <a:pt x="64826" y="45485"/>
                    </a:moveTo>
                    <a:cubicBezTo>
                      <a:pt x="63131" y="49443"/>
                      <a:pt x="60796" y="52903"/>
                      <a:pt x="57810" y="55902"/>
                    </a:cubicBezTo>
                    <a:cubicBezTo>
                      <a:pt x="54823" y="58900"/>
                      <a:pt x="51256" y="61247"/>
                      <a:pt x="47120" y="62965"/>
                    </a:cubicBezTo>
                    <a:cubicBezTo>
                      <a:pt x="42984" y="64683"/>
                      <a:pt x="38469" y="65548"/>
                      <a:pt x="33586" y="65548"/>
                    </a:cubicBezTo>
                    <a:cubicBezTo>
                      <a:pt x="28703" y="65548"/>
                      <a:pt x="24200" y="64683"/>
                      <a:pt x="20099" y="62965"/>
                    </a:cubicBezTo>
                    <a:cubicBezTo>
                      <a:pt x="15999" y="61247"/>
                      <a:pt x="12444" y="58924"/>
                      <a:pt x="9457" y="55996"/>
                    </a:cubicBezTo>
                    <a:cubicBezTo>
                      <a:pt x="6471" y="53069"/>
                      <a:pt x="4148" y="49632"/>
                      <a:pt x="2489" y="45674"/>
                    </a:cubicBezTo>
                    <a:cubicBezTo>
                      <a:pt x="830" y="41716"/>
                      <a:pt x="0" y="37485"/>
                      <a:pt x="0" y="32958"/>
                    </a:cubicBezTo>
                    <a:lnTo>
                      <a:pt x="0" y="32780"/>
                    </a:lnTo>
                    <a:cubicBezTo>
                      <a:pt x="0" y="28253"/>
                      <a:pt x="841" y="24010"/>
                      <a:pt x="2536" y="20064"/>
                    </a:cubicBezTo>
                    <a:cubicBezTo>
                      <a:pt x="4231" y="16118"/>
                      <a:pt x="6566" y="12645"/>
                      <a:pt x="9552" y="9647"/>
                    </a:cubicBezTo>
                    <a:cubicBezTo>
                      <a:pt x="12538" y="6660"/>
                      <a:pt x="16106" y="4302"/>
                      <a:pt x="20242" y="2584"/>
                    </a:cubicBezTo>
                    <a:cubicBezTo>
                      <a:pt x="24378" y="865"/>
                      <a:pt x="28893" y="0"/>
                      <a:pt x="33776" y="0"/>
                    </a:cubicBezTo>
                    <a:cubicBezTo>
                      <a:pt x="38658" y="0"/>
                      <a:pt x="43162" y="865"/>
                      <a:pt x="47262" y="2584"/>
                    </a:cubicBezTo>
                    <a:cubicBezTo>
                      <a:pt x="51363" y="4302"/>
                      <a:pt x="54918" y="6625"/>
                      <a:pt x="57905" y="9552"/>
                    </a:cubicBezTo>
                    <a:cubicBezTo>
                      <a:pt x="60891" y="12479"/>
                      <a:pt x="63214" y="15916"/>
                      <a:pt x="64873" y="19874"/>
                    </a:cubicBezTo>
                    <a:cubicBezTo>
                      <a:pt x="66532" y="23833"/>
                      <a:pt x="67362" y="28063"/>
                      <a:pt x="67362" y="32591"/>
                    </a:cubicBezTo>
                    <a:lnTo>
                      <a:pt x="67362" y="32768"/>
                    </a:lnTo>
                    <a:cubicBezTo>
                      <a:pt x="67362" y="37295"/>
                      <a:pt x="66520" y="41538"/>
                      <a:pt x="64826" y="45496"/>
                    </a:cubicBezTo>
                    <a:close/>
                    <a:moveTo>
                      <a:pt x="52785" y="32756"/>
                    </a:moveTo>
                    <a:cubicBezTo>
                      <a:pt x="52785" y="30043"/>
                      <a:pt x="52323" y="27471"/>
                      <a:pt x="51387" y="25065"/>
                    </a:cubicBezTo>
                    <a:cubicBezTo>
                      <a:pt x="50450" y="22647"/>
                      <a:pt x="49123" y="20538"/>
                      <a:pt x="47405" y="18725"/>
                    </a:cubicBezTo>
                    <a:cubicBezTo>
                      <a:pt x="45686" y="16912"/>
                      <a:pt x="43648" y="15478"/>
                      <a:pt x="41289" y="14423"/>
                    </a:cubicBezTo>
                    <a:cubicBezTo>
                      <a:pt x="38931" y="13368"/>
                      <a:pt x="36371" y="12835"/>
                      <a:pt x="33598" y="12835"/>
                    </a:cubicBezTo>
                    <a:cubicBezTo>
                      <a:pt x="30825" y="12835"/>
                      <a:pt x="28182" y="13344"/>
                      <a:pt x="25859" y="14375"/>
                    </a:cubicBezTo>
                    <a:cubicBezTo>
                      <a:pt x="23536" y="15406"/>
                      <a:pt x="21545" y="16817"/>
                      <a:pt x="19886" y="18630"/>
                    </a:cubicBezTo>
                    <a:cubicBezTo>
                      <a:pt x="18227" y="20443"/>
                      <a:pt x="16923" y="22541"/>
                      <a:pt x="15987" y="24923"/>
                    </a:cubicBezTo>
                    <a:cubicBezTo>
                      <a:pt x="15051" y="27305"/>
                      <a:pt x="14589" y="29853"/>
                      <a:pt x="14589" y="32579"/>
                    </a:cubicBezTo>
                    <a:lnTo>
                      <a:pt x="14589" y="32756"/>
                    </a:lnTo>
                    <a:cubicBezTo>
                      <a:pt x="14589" y="35470"/>
                      <a:pt x="15051" y="38042"/>
                      <a:pt x="15987" y="40448"/>
                    </a:cubicBezTo>
                    <a:cubicBezTo>
                      <a:pt x="16923" y="42865"/>
                      <a:pt x="18251" y="44975"/>
                      <a:pt x="19969" y="46788"/>
                    </a:cubicBezTo>
                    <a:cubicBezTo>
                      <a:pt x="21688" y="48601"/>
                      <a:pt x="23714" y="50035"/>
                      <a:pt x="26037" y="51090"/>
                    </a:cubicBezTo>
                    <a:cubicBezTo>
                      <a:pt x="28360" y="52145"/>
                      <a:pt x="30943" y="52678"/>
                      <a:pt x="33776" y="52678"/>
                    </a:cubicBezTo>
                    <a:cubicBezTo>
                      <a:pt x="36608" y="52678"/>
                      <a:pt x="39121" y="52169"/>
                      <a:pt x="41467" y="51138"/>
                    </a:cubicBezTo>
                    <a:cubicBezTo>
                      <a:pt x="43825" y="50106"/>
                      <a:pt x="45828" y="48696"/>
                      <a:pt x="47487" y="46883"/>
                    </a:cubicBezTo>
                    <a:cubicBezTo>
                      <a:pt x="49147" y="45070"/>
                      <a:pt x="50450" y="42972"/>
                      <a:pt x="51387" y="40590"/>
                    </a:cubicBezTo>
                    <a:cubicBezTo>
                      <a:pt x="52323" y="38208"/>
                      <a:pt x="52785" y="35660"/>
                      <a:pt x="52785" y="32934"/>
                    </a:cubicBezTo>
                    <a:lnTo>
                      <a:pt x="52785" y="32756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4EF11F01-56CB-C7D3-124F-BC5C3E95331F}"/>
                  </a:ext>
                </a:extLst>
              </p:cNvPr>
              <p:cNvSpPr/>
              <p:nvPr/>
            </p:nvSpPr>
            <p:spPr>
              <a:xfrm>
                <a:off x="2045181" y="6591543"/>
                <a:ext cx="96183" cy="64019"/>
              </a:xfrm>
              <a:custGeom>
                <a:avLst/>
                <a:gdLst>
                  <a:gd name="connsiteX0" fmla="*/ 74520 w 96183"/>
                  <a:gd name="connsiteY0" fmla="*/ 64020 h 64019"/>
                  <a:gd name="connsiteX1" fmla="*/ 62384 w 96183"/>
                  <a:gd name="connsiteY1" fmla="*/ 64020 h 64019"/>
                  <a:gd name="connsiteX2" fmla="*/ 48080 w 96183"/>
                  <a:gd name="connsiteY2" fmla="*/ 22553 h 64019"/>
                  <a:gd name="connsiteX3" fmla="*/ 33776 w 96183"/>
                  <a:gd name="connsiteY3" fmla="*/ 64020 h 64019"/>
                  <a:gd name="connsiteX4" fmla="*/ 21640 w 96183"/>
                  <a:gd name="connsiteY4" fmla="*/ 64020 h 64019"/>
                  <a:gd name="connsiteX5" fmla="*/ 0 w 96183"/>
                  <a:gd name="connsiteY5" fmla="*/ 190 h 64019"/>
                  <a:gd name="connsiteX6" fmla="*/ 14944 w 96183"/>
                  <a:gd name="connsiteY6" fmla="*/ 190 h 64019"/>
                  <a:gd name="connsiteX7" fmla="*/ 28075 w 96183"/>
                  <a:gd name="connsiteY7" fmla="*/ 43102 h 64019"/>
                  <a:gd name="connsiteX8" fmla="*/ 42297 w 96183"/>
                  <a:gd name="connsiteY8" fmla="*/ 0 h 64019"/>
                  <a:gd name="connsiteX9" fmla="*/ 54254 w 96183"/>
                  <a:gd name="connsiteY9" fmla="*/ 0 h 64019"/>
                  <a:gd name="connsiteX10" fmla="*/ 68476 w 96183"/>
                  <a:gd name="connsiteY10" fmla="*/ 43102 h 64019"/>
                  <a:gd name="connsiteX11" fmla="*/ 81607 w 96183"/>
                  <a:gd name="connsiteY11" fmla="*/ 190 h 64019"/>
                  <a:gd name="connsiteX12" fmla="*/ 96184 w 96183"/>
                  <a:gd name="connsiteY12" fmla="*/ 190 h 64019"/>
                  <a:gd name="connsiteX13" fmla="*/ 74544 w 96183"/>
                  <a:gd name="connsiteY13" fmla="*/ 64020 h 64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6183" h="64019">
                    <a:moveTo>
                      <a:pt x="74520" y="64020"/>
                    </a:moveTo>
                    <a:lnTo>
                      <a:pt x="62384" y="64020"/>
                    </a:lnTo>
                    <a:lnTo>
                      <a:pt x="48080" y="22553"/>
                    </a:lnTo>
                    <a:lnTo>
                      <a:pt x="33776" y="64020"/>
                    </a:lnTo>
                    <a:lnTo>
                      <a:pt x="21640" y="64020"/>
                    </a:lnTo>
                    <a:lnTo>
                      <a:pt x="0" y="190"/>
                    </a:lnTo>
                    <a:lnTo>
                      <a:pt x="14944" y="190"/>
                    </a:lnTo>
                    <a:lnTo>
                      <a:pt x="28075" y="43102"/>
                    </a:lnTo>
                    <a:lnTo>
                      <a:pt x="42297" y="0"/>
                    </a:lnTo>
                    <a:lnTo>
                      <a:pt x="54254" y="0"/>
                    </a:lnTo>
                    <a:lnTo>
                      <a:pt x="68476" y="43102"/>
                    </a:lnTo>
                    <a:lnTo>
                      <a:pt x="81607" y="190"/>
                    </a:lnTo>
                    <a:lnTo>
                      <a:pt x="96184" y="190"/>
                    </a:lnTo>
                    <a:lnTo>
                      <a:pt x="74544" y="64020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AF9E907-C88B-0AEB-FD27-ABA04C2A684B}"/>
                  </a:ext>
                </a:extLst>
              </p:cNvPr>
              <p:cNvSpPr/>
              <p:nvPr/>
            </p:nvSpPr>
            <p:spPr>
              <a:xfrm>
                <a:off x="1847244" y="6591863"/>
                <a:ext cx="54787" cy="63379"/>
              </a:xfrm>
              <a:custGeom>
                <a:avLst/>
                <a:gdLst>
                  <a:gd name="connsiteX0" fmla="*/ 36004 w 54787"/>
                  <a:gd name="connsiteY0" fmla="*/ 40744 h 63379"/>
                  <a:gd name="connsiteX1" fmla="*/ 49123 w 54787"/>
                  <a:gd name="connsiteY1" fmla="*/ 33633 h 63379"/>
                  <a:gd name="connsiteX2" fmla="*/ 52880 w 54787"/>
                  <a:gd name="connsiteY2" fmla="*/ 21095 h 63379"/>
                  <a:gd name="connsiteX3" fmla="*/ 52880 w 54787"/>
                  <a:gd name="connsiteY3" fmla="*/ 20917 h 63379"/>
                  <a:gd name="connsiteX4" fmla="*/ 46587 w 54787"/>
                  <a:gd name="connsiteY4" fmla="*/ 5523 h 63379"/>
                  <a:gd name="connsiteX5" fmla="*/ 28976 w 54787"/>
                  <a:gd name="connsiteY5" fmla="*/ 0 h 63379"/>
                  <a:gd name="connsiteX6" fmla="*/ 0 w 54787"/>
                  <a:gd name="connsiteY6" fmla="*/ 0 h 63379"/>
                  <a:gd name="connsiteX7" fmla="*/ 0 w 54787"/>
                  <a:gd name="connsiteY7" fmla="*/ 63380 h 63379"/>
                  <a:gd name="connsiteX8" fmla="*/ 13949 w 54787"/>
                  <a:gd name="connsiteY8" fmla="*/ 63380 h 63379"/>
                  <a:gd name="connsiteX9" fmla="*/ 13949 w 54787"/>
                  <a:gd name="connsiteY9" fmla="*/ 12586 h 63379"/>
                  <a:gd name="connsiteX10" fmla="*/ 27803 w 54787"/>
                  <a:gd name="connsiteY10" fmla="*/ 12586 h 63379"/>
                  <a:gd name="connsiteX11" fmla="*/ 35862 w 54787"/>
                  <a:gd name="connsiteY11" fmla="*/ 14849 h 63379"/>
                  <a:gd name="connsiteX12" fmla="*/ 38765 w 54787"/>
                  <a:gd name="connsiteY12" fmla="*/ 21640 h 63379"/>
                  <a:gd name="connsiteX13" fmla="*/ 38765 w 54787"/>
                  <a:gd name="connsiteY13" fmla="*/ 21818 h 63379"/>
                  <a:gd name="connsiteX14" fmla="*/ 36004 w 54787"/>
                  <a:gd name="connsiteY14" fmla="*/ 28336 h 63379"/>
                  <a:gd name="connsiteX15" fmla="*/ 28075 w 54787"/>
                  <a:gd name="connsiteY15" fmla="*/ 30777 h 63379"/>
                  <a:gd name="connsiteX16" fmla="*/ 20941 w 54787"/>
                  <a:gd name="connsiteY16" fmla="*/ 30777 h 63379"/>
                  <a:gd name="connsiteX17" fmla="*/ 20941 w 54787"/>
                  <a:gd name="connsiteY17" fmla="*/ 43091 h 63379"/>
                  <a:gd name="connsiteX18" fmla="*/ 36122 w 54787"/>
                  <a:gd name="connsiteY18" fmla="*/ 63368 h 63379"/>
                  <a:gd name="connsiteX19" fmla="*/ 54788 w 54787"/>
                  <a:gd name="connsiteY19" fmla="*/ 63368 h 63379"/>
                  <a:gd name="connsiteX20" fmla="*/ 36004 w 54787"/>
                  <a:gd name="connsiteY20" fmla="*/ 40732 h 63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4787" h="63379">
                    <a:moveTo>
                      <a:pt x="36004" y="40744"/>
                    </a:moveTo>
                    <a:cubicBezTo>
                      <a:pt x="43956" y="39038"/>
                      <a:pt x="46622" y="36869"/>
                      <a:pt x="49123" y="33633"/>
                    </a:cubicBezTo>
                    <a:cubicBezTo>
                      <a:pt x="51624" y="30398"/>
                      <a:pt x="52880" y="26227"/>
                      <a:pt x="52880" y="21095"/>
                    </a:cubicBezTo>
                    <a:lnTo>
                      <a:pt x="52880" y="20917"/>
                    </a:lnTo>
                    <a:cubicBezTo>
                      <a:pt x="52880" y="14340"/>
                      <a:pt x="50782" y="9208"/>
                      <a:pt x="46587" y="5523"/>
                    </a:cubicBezTo>
                    <a:cubicBezTo>
                      <a:pt x="42391" y="1837"/>
                      <a:pt x="36525" y="0"/>
                      <a:pt x="28976" y="0"/>
                    </a:cubicBezTo>
                    <a:lnTo>
                      <a:pt x="0" y="0"/>
                    </a:lnTo>
                    <a:lnTo>
                      <a:pt x="0" y="63380"/>
                    </a:lnTo>
                    <a:lnTo>
                      <a:pt x="13949" y="63380"/>
                    </a:lnTo>
                    <a:lnTo>
                      <a:pt x="13949" y="12586"/>
                    </a:lnTo>
                    <a:lnTo>
                      <a:pt x="27803" y="12586"/>
                    </a:lnTo>
                    <a:cubicBezTo>
                      <a:pt x="31240" y="12586"/>
                      <a:pt x="33930" y="13344"/>
                      <a:pt x="35862" y="14849"/>
                    </a:cubicBezTo>
                    <a:cubicBezTo>
                      <a:pt x="37793" y="16355"/>
                      <a:pt x="38765" y="18618"/>
                      <a:pt x="38765" y="21640"/>
                    </a:cubicBezTo>
                    <a:lnTo>
                      <a:pt x="38765" y="21818"/>
                    </a:lnTo>
                    <a:cubicBezTo>
                      <a:pt x="38765" y="24532"/>
                      <a:pt x="37841" y="26701"/>
                      <a:pt x="36004" y="28336"/>
                    </a:cubicBezTo>
                    <a:cubicBezTo>
                      <a:pt x="34167" y="29971"/>
                      <a:pt x="31524" y="30777"/>
                      <a:pt x="28075" y="30777"/>
                    </a:cubicBezTo>
                    <a:lnTo>
                      <a:pt x="20941" y="30777"/>
                    </a:lnTo>
                    <a:lnTo>
                      <a:pt x="20941" y="43091"/>
                    </a:lnTo>
                    <a:lnTo>
                      <a:pt x="36122" y="63368"/>
                    </a:lnTo>
                    <a:lnTo>
                      <a:pt x="54788" y="63368"/>
                    </a:lnTo>
                    <a:lnTo>
                      <a:pt x="36004" y="40732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8AB0850E-57B9-7543-0828-D0D2ACAD70F8}"/>
                  </a:ext>
                </a:extLst>
              </p:cNvPr>
              <p:cNvSpPr/>
              <p:nvPr/>
            </p:nvSpPr>
            <p:spPr>
              <a:xfrm>
                <a:off x="1913895" y="6591863"/>
                <a:ext cx="54787" cy="63379"/>
              </a:xfrm>
              <a:custGeom>
                <a:avLst/>
                <a:gdLst>
                  <a:gd name="connsiteX0" fmla="*/ 36004 w 54787"/>
                  <a:gd name="connsiteY0" fmla="*/ 40744 h 63379"/>
                  <a:gd name="connsiteX1" fmla="*/ 49123 w 54787"/>
                  <a:gd name="connsiteY1" fmla="*/ 33633 h 63379"/>
                  <a:gd name="connsiteX2" fmla="*/ 52880 w 54787"/>
                  <a:gd name="connsiteY2" fmla="*/ 21095 h 63379"/>
                  <a:gd name="connsiteX3" fmla="*/ 52880 w 54787"/>
                  <a:gd name="connsiteY3" fmla="*/ 20917 h 63379"/>
                  <a:gd name="connsiteX4" fmla="*/ 46587 w 54787"/>
                  <a:gd name="connsiteY4" fmla="*/ 5523 h 63379"/>
                  <a:gd name="connsiteX5" fmla="*/ 28976 w 54787"/>
                  <a:gd name="connsiteY5" fmla="*/ 0 h 63379"/>
                  <a:gd name="connsiteX6" fmla="*/ 0 w 54787"/>
                  <a:gd name="connsiteY6" fmla="*/ 0 h 63379"/>
                  <a:gd name="connsiteX7" fmla="*/ 0 w 54787"/>
                  <a:gd name="connsiteY7" fmla="*/ 63380 h 63379"/>
                  <a:gd name="connsiteX8" fmla="*/ 13949 w 54787"/>
                  <a:gd name="connsiteY8" fmla="*/ 63380 h 63379"/>
                  <a:gd name="connsiteX9" fmla="*/ 13949 w 54787"/>
                  <a:gd name="connsiteY9" fmla="*/ 12586 h 63379"/>
                  <a:gd name="connsiteX10" fmla="*/ 27803 w 54787"/>
                  <a:gd name="connsiteY10" fmla="*/ 12586 h 63379"/>
                  <a:gd name="connsiteX11" fmla="*/ 35862 w 54787"/>
                  <a:gd name="connsiteY11" fmla="*/ 14849 h 63379"/>
                  <a:gd name="connsiteX12" fmla="*/ 38765 w 54787"/>
                  <a:gd name="connsiteY12" fmla="*/ 21640 h 63379"/>
                  <a:gd name="connsiteX13" fmla="*/ 38765 w 54787"/>
                  <a:gd name="connsiteY13" fmla="*/ 21818 h 63379"/>
                  <a:gd name="connsiteX14" fmla="*/ 36004 w 54787"/>
                  <a:gd name="connsiteY14" fmla="*/ 28336 h 63379"/>
                  <a:gd name="connsiteX15" fmla="*/ 28075 w 54787"/>
                  <a:gd name="connsiteY15" fmla="*/ 30777 h 63379"/>
                  <a:gd name="connsiteX16" fmla="*/ 20941 w 54787"/>
                  <a:gd name="connsiteY16" fmla="*/ 30777 h 63379"/>
                  <a:gd name="connsiteX17" fmla="*/ 20941 w 54787"/>
                  <a:gd name="connsiteY17" fmla="*/ 43091 h 63379"/>
                  <a:gd name="connsiteX18" fmla="*/ 36122 w 54787"/>
                  <a:gd name="connsiteY18" fmla="*/ 63368 h 63379"/>
                  <a:gd name="connsiteX19" fmla="*/ 54788 w 54787"/>
                  <a:gd name="connsiteY19" fmla="*/ 63368 h 63379"/>
                  <a:gd name="connsiteX20" fmla="*/ 36004 w 54787"/>
                  <a:gd name="connsiteY20" fmla="*/ 40732 h 63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4787" h="63379">
                    <a:moveTo>
                      <a:pt x="36004" y="40744"/>
                    </a:moveTo>
                    <a:cubicBezTo>
                      <a:pt x="43956" y="39038"/>
                      <a:pt x="46622" y="36869"/>
                      <a:pt x="49123" y="33633"/>
                    </a:cubicBezTo>
                    <a:cubicBezTo>
                      <a:pt x="51624" y="30398"/>
                      <a:pt x="52880" y="26227"/>
                      <a:pt x="52880" y="21095"/>
                    </a:cubicBezTo>
                    <a:lnTo>
                      <a:pt x="52880" y="20917"/>
                    </a:lnTo>
                    <a:cubicBezTo>
                      <a:pt x="52880" y="14340"/>
                      <a:pt x="50782" y="9208"/>
                      <a:pt x="46587" y="5523"/>
                    </a:cubicBezTo>
                    <a:cubicBezTo>
                      <a:pt x="42391" y="1837"/>
                      <a:pt x="36525" y="0"/>
                      <a:pt x="28976" y="0"/>
                    </a:cubicBezTo>
                    <a:lnTo>
                      <a:pt x="0" y="0"/>
                    </a:lnTo>
                    <a:lnTo>
                      <a:pt x="0" y="63380"/>
                    </a:lnTo>
                    <a:lnTo>
                      <a:pt x="13949" y="63380"/>
                    </a:lnTo>
                    <a:lnTo>
                      <a:pt x="13949" y="12586"/>
                    </a:lnTo>
                    <a:lnTo>
                      <a:pt x="27803" y="12586"/>
                    </a:lnTo>
                    <a:cubicBezTo>
                      <a:pt x="31240" y="12586"/>
                      <a:pt x="33930" y="13344"/>
                      <a:pt x="35862" y="14849"/>
                    </a:cubicBezTo>
                    <a:cubicBezTo>
                      <a:pt x="37793" y="16355"/>
                      <a:pt x="38765" y="18618"/>
                      <a:pt x="38765" y="21640"/>
                    </a:cubicBezTo>
                    <a:lnTo>
                      <a:pt x="38765" y="21818"/>
                    </a:lnTo>
                    <a:cubicBezTo>
                      <a:pt x="38765" y="24532"/>
                      <a:pt x="37841" y="26701"/>
                      <a:pt x="36004" y="28336"/>
                    </a:cubicBezTo>
                    <a:cubicBezTo>
                      <a:pt x="34167" y="29971"/>
                      <a:pt x="31524" y="30777"/>
                      <a:pt x="28075" y="30777"/>
                    </a:cubicBezTo>
                    <a:lnTo>
                      <a:pt x="20941" y="30777"/>
                    </a:lnTo>
                    <a:lnTo>
                      <a:pt x="20941" y="43091"/>
                    </a:lnTo>
                    <a:lnTo>
                      <a:pt x="36122" y="63368"/>
                    </a:lnTo>
                    <a:lnTo>
                      <a:pt x="54788" y="63368"/>
                    </a:lnTo>
                    <a:lnTo>
                      <a:pt x="36004" y="40732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4222C66-2BDC-D11D-4A46-0ADF351E4314}"/>
                </a:ext>
              </a:extLst>
            </p:cNvPr>
            <p:cNvGrpSpPr/>
            <p:nvPr/>
          </p:nvGrpSpPr>
          <p:grpSpPr>
            <a:xfrm>
              <a:off x="289932" y="6281977"/>
              <a:ext cx="3072104" cy="129643"/>
              <a:chOff x="-20516" y="2052871"/>
              <a:chExt cx="4706261" cy="198605"/>
            </a:xfrm>
            <a:grpFill/>
          </p:grpSpPr>
          <p:sp>
            <p:nvSpPr>
              <p:cNvPr id="17" name="AutoShape 24">
                <a:extLst>
                  <a:ext uri="{FF2B5EF4-FFF2-40B4-BE49-F238E27FC236}">
                    <a16:creationId xmlns:a16="http://schemas.microsoft.com/office/drawing/2014/main" id="{8A9BCAC9-D317-77E9-4DA8-7AE6EC6807D8}"/>
                  </a:ext>
                </a:extLst>
              </p:cNvPr>
              <p:cNvSpPr/>
              <p:nvPr/>
            </p:nvSpPr>
            <p:spPr>
              <a:xfrm flipV="1">
                <a:off x="1032937" y="2052871"/>
                <a:ext cx="3652808" cy="0"/>
              </a:xfrm>
              <a:prstGeom prst="line">
                <a:avLst/>
              </a:prstGeom>
              <a:grpFill/>
              <a:ln w="28575" cap="flat">
                <a:solidFill>
                  <a:schemeClr val="bg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AutoShape 24">
                <a:extLst>
                  <a:ext uri="{FF2B5EF4-FFF2-40B4-BE49-F238E27FC236}">
                    <a16:creationId xmlns:a16="http://schemas.microsoft.com/office/drawing/2014/main" id="{3050ADE1-EF00-D05B-0CC3-C9B99716B399}"/>
                  </a:ext>
                </a:extLst>
              </p:cNvPr>
              <p:cNvSpPr/>
              <p:nvPr/>
            </p:nvSpPr>
            <p:spPr>
              <a:xfrm flipV="1">
                <a:off x="-20516" y="2052877"/>
                <a:ext cx="927307" cy="0"/>
              </a:xfrm>
              <a:prstGeom prst="line">
                <a:avLst/>
              </a:prstGeom>
              <a:grpFill/>
              <a:ln w="28575" cap="flat">
                <a:solidFill>
                  <a:schemeClr val="bg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AutoShape 24">
                <a:extLst>
                  <a:ext uri="{FF2B5EF4-FFF2-40B4-BE49-F238E27FC236}">
                    <a16:creationId xmlns:a16="http://schemas.microsoft.com/office/drawing/2014/main" id="{701DE32D-8674-6E81-1F23-4CFF17E281D9}"/>
                  </a:ext>
                </a:extLst>
              </p:cNvPr>
              <p:cNvSpPr/>
              <p:nvPr/>
            </p:nvSpPr>
            <p:spPr>
              <a:xfrm flipH="1" flipV="1">
                <a:off x="968334" y="2131093"/>
                <a:ext cx="0" cy="120383"/>
              </a:xfrm>
              <a:prstGeom prst="line">
                <a:avLst/>
              </a:prstGeom>
              <a:grpFill/>
              <a:ln w="28575" cap="flat">
                <a:solidFill>
                  <a:schemeClr val="bg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48" name="Title 22">
            <a:extLst>
              <a:ext uri="{FF2B5EF4-FFF2-40B4-BE49-F238E27FC236}">
                <a16:creationId xmlns:a16="http://schemas.microsoft.com/office/drawing/2014/main" id="{777F6401-85E8-F74A-16CC-31167DCC7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416" y="377212"/>
            <a:ext cx="2872130" cy="783713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8894C82E-BA35-1024-75D9-ECDA7F483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416" y="5627127"/>
            <a:ext cx="2867048" cy="3776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l">
              <a:buNone/>
              <a:defRPr sz="1600"/>
            </a:lvl2pPr>
            <a:lvl3pPr marL="914400" indent="0" algn="l">
              <a:buNone/>
              <a:defRPr sz="1600"/>
            </a:lvl3pPr>
            <a:lvl4pPr marL="1371600" indent="0" algn="l">
              <a:buNone/>
              <a:defRPr sz="1600"/>
            </a:lvl4pPr>
            <a:lvl5pPr marL="1828800" indent="0" algn="l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5076CD2-9C77-A28A-E5A8-B38A56BF9177}"/>
              </a:ext>
            </a:extLst>
          </p:cNvPr>
          <p:cNvSpPr txBox="1"/>
          <p:nvPr userDrawn="1"/>
        </p:nvSpPr>
        <p:spPr>
          <a:xfrm>
            <a:off x="3047114" y="6611779"/>
            <a:ext cx="609777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AU" sz="1000">
                <a:solidFill>
                  <a:schemeClr val="bg1">
                    <a:lumMod val="50000"/>
                  </a:schemeClr>
                </a:solidFill>
              </a:rPr>
              <a:t>CONFIDENTIAL MATERIAL – DO NOT DISTRIBUTE </a:t>
            </a:r>
          </a:p>
        </p:txBody>
      </p:sp>
    </p:spTree>
    <p:extLst>
      <p:ext uri="{BB962C8B-B14F-4D97-AF65-F5344CB8AC3E}">
        <p14:creationId xmlns:p14="http://schemas.microsoft.com/office/powerpoint/2010/main" val="3015660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aphic 25">
            <a:extLst>
              <a:ext uri="{FF2B5EF4-FFF2-40B4-BE49-F238E27FC236}">
                <a16:creationId xmlns:a16="http://schemas.microsoft.com/office/drawing/2014/main" id="{CF9C53F7-BE92-BFAE-3CC9-8383B4E5A658}"/>
              </a:ext>
            </a:extLst>
          </p:cNvPr>
          <p:cNvGrpSpPr/>
          <p:nvPr userDrawn="1"/>
        </p:nvGrpSpPr>
        <p:grpSpPr>
          <a:xfrm>
            <a:off x="641802" y="6483229"/>
            <a:ext cx="588657" cy="65548"/>
            <a:chOff x="1552708" y="6590654"/>
            <a:chExt cx="588657" cy="65548"/>
          </a:xfrm>
          <a:solidFill>
            <a:schemeClr val="tx1"/>
          </a:solidFill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8B7B050-99B0-3F6A-9747-5BE7F562146C}"/>
                </a:ext>
              </a:extLst>
            </p:cNvPr>
            <p:cNvSpPr/>
            <p:nvPr/>
          </p:nvSpPr>
          <p:spPr>
            <a:xfrm>
              <a:off x="1552708" y="6591721"/>
              <a:ext cx="52512" cy="63379"/>
            </a:xfrm>
            <a:custGeom>
              <a:avLst/>
              <a:gdLst>
                <a:gd name="connsiteX0" fmla="*/ 33231 w 52512"/>
                <a:gd name="connsiteY0" fmla="*/ 12858 h 63379"/>
                <a:gd name="connsiteX1" fmla="*/ 33231 w 52512"/>
                <a:gd name="connsiteY1" fmla="*/ 63380 h 63379"/>
                <a:gd name="connsiteX2" fmla="*/ 19282 w 52512"/>
                <a:gd name="connsiteY2" fmla="*/ 63380 h 63379"/>
                <a:gd name="connsiteX3" fmla="*/ 19282 w 52512"/>
                <a:gd name="connsiteY3" fmla="*/ 12858 h 63379"/>
                <a:gd name="connsiteX4" fmla="*/ 0 w 52512"/>
                <a:gd name="connsiteY4" fmla="*/ 12858 h 63379"/>
                <a:gd name="connsiteX5" fmla="*/ 0 w 52512"/>
                <a:gd name="connsiteY5" fmla="*/ 0 h 63379"/>
                <a:gd name="connsiteX6" fmla="*/ 52512 w 52512"/>
                <a:gd name="connsiteY6" fmla="*/ 0 h 63379"/>
                <a:gd name="connsiteX7" fmla="*/ 52512 w 52512"/>
                <a:gd name="connsiteY7" fmla="*/ 12858 h 63379"/>
                <a:gd name="connsiteX8" fmla="*/ 33231 w 52512"/>
                <a:gd name="connsiteY8" fmla="*/ 12858 h 63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512" h="63379">
                  <a:moveTo>
                    <a:pt x="33231" y="12858"/>
                  </a:moveTo>
                  <a:lnTo>
                    <a:pt x="33231" y="63380"/>
                  </a:lnTo>
                  <a:lnTo>
                    <a:pt x="19282" y="63380"/>
                  </a:lnTo>
                  <a:lnTo>
                    <a:pt x="19282" y="12858"/>
                  </a:lnTo>
                  <a:lnTo>
                    <a:pt x="0" y="12858"/>
                  </a:lnTo>
                  <a:lnTo>
                    <a:pt x="0" y="0"/>
                  </a:lnTo>
                  <a:lnTo>
                    <a:pt x="52512" y="0"/>
                  </a:lnTo>
                  <a:lnTo>
                    <a:pt x="52512" y="12858"/>
                  </a:lnTo>
                  <a:lnTo>
                    <a:pt x="33231" y="12858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B12D2CD-9C48-10D3-89CA-61CD1A0FAFBB}"/>
                </a:ext>
              </a:extLst>
            </p:cNvPr>
            <p:cNvSpPr/>
            <p:nvPr/>
          </p:nvSpPr>
          <p:spPr>
            <a:xfrm>
              <a:off x="1613113" y="6590654"/>
              <a:ext cx="67361" cy="65548"/>
            </a:xfrm>
            <a:custGeom>
              <a:avLst/>
              <a:gdLst>
                <a:gd name="connsiteX0" fmla="*/ 64826 w 67361"/>
                <a:gd name="connsiteY0" fmla="*/ 45485 h 65548"/>
                <a:gd name="connsiteX1" fmla="*/ 57810 w 67361"/>
                <a:gd name="connsiteY1" fmla="*/ 55902 h 65548"/>
                <a:gd name="connsiteX2" fmla="*/ 47120 w 67361"/>
                <a:gd name="connsiteY2" fmla="*/ 62965 h 65548"/>
                <a:gd name="connsiteX3" fmla="*/ 33586 w 67361"/>
                <a:gd name="connsiteY3" fmla="*/ 65548 h 65548"/>
                <a:gd name="connsiteX4" fmla="*/ 20100 w 67361"/>
                <a:gd name="connsiteY4" fmla="*/ 62965 h 65548"/>
                <a:gd name="connsiteX5" fmla="*/ 9457 w 67361"/>
                <a:gd name="connsiteY5" fmla="*/ 55996 h 65548"/>
                <a:gd name="connsiteX6" fmla="*/ 2489 w 67361"/>
                <a:gd name="connsiteY6" fmla="*/ 45674 h 65548"/>
                <a:gd name="connsiteX7" fmla="*/ 0 w 67361"/>
                <a:gd name="connsiteY7" fmla="*/ 32958 h 65548"/>
                <a:gd name="connsiteX8" fmla="*/ 0 w 67361"/>
                <a:gd name="connsiteY8" fmla="*/ 32780 h 65548"/>
                <a:gd name="connsiteX9" fmla="*/ 2536 w 67361"/>
                <a:gd name="connsiteY9" fmla="*/ 20064 h 65548"/>
                <a:gd name="connsiteX10" fmla="*/ 9552 w 67361"/>
                <a:gd name="connsiteY10" fmla="*/ 9647 h 65548"/>
                <a:gd name="connsiteX11" fmla="*/ 20242 w 67361"/>
                <a:gd name="connsiteY11" fmla="*/ 2584 h 65548"/>
                <a:gd name="connsiteX12" fmla="*/ 33776 w 67361"/>
                <a:gd name="connsiteY12" fmla="*/ 0 h 65548"/>
                <a:gd name="connsiteX13" fmla="*/ 47262 w 67361"/>
                <a:gd name="connsiteY13" fmla="*/ 2584 h 65548"/>
                <a:gd name="connsiteX14" fmla="*/ 57905 w 67361"/>
                <a:gd name="connsiteY14" fmla="*/ 9552 h 65548"/>
                <a:gd name="connsiteX15" fmla="*/ 64873 w 67361"/>
                <a:gd name="connsiteY15" fmla="*/ 19874 h 65548"/>
                <a:gd name="connsiteX16" fmla="*/ 67362 w 67361"/>
                <a:gd name="connsiteY16" fmla="*/ 32591 h 65548"/>
                <a:gd name="connsiteX17" fmla="*/ 67362 w 67361"/>
                <a:gd name="connsiteY17" fmla="*/ 32768 h 65548"/>
                <a:gd name="connsiteX18" fmla="*/ 64826 w 67361"/>
                <a:gd name="connsiteY18" fmla="*/ 45496 h 65548"/>
                <a:gd name="connsiteX19" fmla="*/ 52785 w 67361"/>
                <a:gd name="connsiteY19" fmla="*/ 32756 h 65548"/>
                <a:gd name="connsiteX20" fmla="*/ 51387 w 67361"/>
                <a:gd name="connsiteY20" fmla="*/ 25065 h 65548"/>
                <a:gd name="connsiteX21" fmla="*/ 47405 w 67361"/>
                <a:gd name="connsiteY21" fmla="*/ 18725 h 65548"/>
                <a:gd name="connsiteX22" fmla="*/ 41289 w 67361"/>
                <a:gd name="connsiteY22" fmla="*/ 14423 h 65548"/>
                <a:gd name="connsiteX23" fmla="*/ 33598 w 67361"/>
                <a:gd name="connsiteY23" fmla="*/ 12835 h 65548"/>
                <a:gd name="connsiteX24" fmla="*/ 25859 w 67361"/>
                <a:gd name="connsiteY24" fmla="*/ 14375 h 65548"/>
                <a:gd name="connsiteX25" fmla="*/ 19886 w 67361"/>
                <a:gd name="connsiteY25" fmla="*/ 18630 h 65548"/>
                <a:gd name="connsiteX26" fmla="*/ 15987 w 67361"/>
                <a:gd name="connsiteY26" fmla="*/ 24923 h 65548"/>
                <a:gd name="connsiteX27" fmla="*/ 14589 w 67361"/>
                <a:gd name="connsiteY27" fmla="*/ 32579 h 65548"/>
                <a:gd name="connsiteX28" fmla="*/ 14589 w 67361"/>
                <a:gd name="connsiteY28" fmla="*/ 32756 h 65548"/>
                <a:gd name="connsiteX29" fmla="*/ 15987 w 67361"/>
                <a:gd name="connsiteY29" fmla="*/ 40448 h 65548"/>
                <a:gd name="connsiteX30" fmla="*/ 19969 w 67361"/>
                <a:gd name="connsiteY30" fmla="*/ 46788 h 65548"/>
                <a:gd name="connsiteX31" fmla="*/ 26037 w 67361"/>
                <a:gd name="connsiteY31" fmla="*/ 51090 h 65548"/>
                <a:gd name="connsiteX32" fmla="*/ 33776 w 67361"/>
                <a:gd name="connsiteY32" fmla="*/ 52678 h 65548"/>
                <a:gd name="connsiteX33" fmla="*/ 41467 w 67361"/>
                <a:gd name="connsiteY33" fmla="*/ 51138 h 65548"/>
                <a:gd name="connsiteX34" fmla="*/ 47487 w 67361"/>
                <a:gd name="connsiteY34" fmla="*/ 46883 h 65548"/>
                <a:gd name="connsiteX35" fmla="*/ 51387 w 67361"/>
                <a:gd name="connsiteY35" fmla="*/ 40590 h 65548"/>
                <a:gd name="connsiteX36" fmla="*/ 52785 w 67361"/>
                <a:gd name="connsiteY36" fmla="*/ 32934 h 65548"/>
                <a:gd name="connsiteX37" fmla="*/ 52785 w 67361"/>
                <a:gd name="connsiteY37" fmla="*/ 32756 h 65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7361" h="65548">
                  <a:moveTo>
                    <a:pt x="64826" y="45485"/>
                  </a:moveTo>
                  <a:cubicBezTo>
                    <a:pt x="63131" y="49443"/>
                    <a:pt x="60796" y="52903"/>
                    <a:pt x="57810" y="55902"/>
                  </a:cubicBezTo>
                  <a:cubicBezTo>
                    <a:pt x="54823" y="58900"/>
                    <a:pt x="51256" y="61247"/>
                    <a:pt x="47120" y="62965"/>
                  </a:cubicBezTo>
                  <a:cubicBezTo>
                    <a:pt x="42984" y="64683"/>
                    <a:pt x="38469" y="65548"/>
                    <a:pt x="33586" y="65548"/>
                  </a:cubicBezTo>
                  <a:cubicBezTo>
                    <a:pt x="28703" y="65548"/>
                    <a:pt x="24200" y="64683"/>
                    <a:pt x="20100" y="62965"/>
                  </a:cubicBezTo>
                  <a:cubicBezTo>
                    <a:pt x="15999" y="61247"/>
                    <a:pt x="12444" y="58924"/>
                    <a:pt x="9457" y="55996"/>
                  </a:cubicBezTo>
                  <a:cubicBezTo>
                    <a:pt x="6471" y="53069"/>
                    <a:pt x="4148" y="49632"/>
                    <a:pt x="2489" y="45674"/>
                  </a:cubicBezTo>
                  <a:cubicBezTo>
                    <a:pt x="830" y="41716"/>
                    <a:pt x="0" y="37485"/>
                    <a:pt x="0" y="32958"/>
                  </a:cubicBezTo>
                  <a:lnTo>
                    <a:pt x="0" y="32780"/>
                  </a:lnTo>
                  <a:cubicBezTo>
                    <a:pt x="0" y="28253"/>
                    <a:pt x="841" y="24010"/>
                    <a:pt x="2536" y="20064"/>
                  </a:cubicBezTo>
                  <a:cubicBezTo>
                    <a:pt x="4231" y="16118"/>
                    <a:pt x="6566" y="12645"/>
                    <a:pt x="9552" y="9647"/>
                  </a:cubicBezTo>
                  <a:cubicBezTo>
                    <a:pt x="12539" y="6660"/>
                    <a:pt x="16106" y="4302"/>
                    <a:pt x="20242" y="2584"/>
                  </a:cubicBezTo>
                  <a:cubicBezTo>
                    <a:pt x="24378" y="865"/>
                    <a:pt x="28893" y="0"/>
                    <a:pt x="33776" y="0"/>
                  </a:cubicBezTo>
                  <a:cubicBezTo>
                    <a:pt x="38658" y="0"/>
                    <a:pt x="43162" y="865"/>
                    <a:pt x="47262" y="2584"/>
                  </a:cubicBezTo>
                  <a:cubicBezTo>
                    <a:pt x="51363" y="4302"/>
                    <a:pt x="54918" y="6625"/>
                    <a:pt x="57905" y="9552"/>
                  </a:cubicBezTo>
                  <a:cubicBezTo>
                    <a:pt x="60891" y="12479"/>
                    <a:pt x="63214" y="15916"/>
                    <a:pt x="64873" y="19874"/>
                  </a:cubicBezTo>
                  <a:cubicBezTo>
                    <a:pt x="66532" y="23833"/>
                    <a:pt x="67362" y="28063"/>
                    <a:pt x="67362" y="32591"/>
                  </a:cubicBezTo>
                  <a:lnTo>
                    <a:pt x="67362" y="32768"/>
                  </a:lnTo>
                  <a:cubicBezTo>
                    <a:pt x="67362" y="37295"/>
                    <a:pt x="66520" y="41538"/>
                    <a:pt x="64826" y="45496"/>
                  </a:cubicBezTo>
                  <a:close/>
                  <a:moveTo>
                    <a:pt x="52785" y="32756"/>
                  </a:moveTo>
                  <a:cubicBezTo>
                    <a:pt x="52785" y="30043"/>
                    <a:pt x="52323" y="27471"/>
                    <a:pt x="51387" y="25065"/>
                  </a:cubicBezTo>
                  <a:cubicBezTo>
                    <a:pt x="50450" y="22647"/>
                    <a:pt x="49123" y="20538"/>
                    <a:pt x="47405" y="18725"/>
                  </a:cubicBezTo>
                  <a:cubicBezTo>
                    <a:pt x="45686" y="16912"/>
                    <a:pt x="43648" y="15478"/>
                    <a:pt x="41289" y="14423"/>
                  </a:cubicBezTo>
                  <a:cubicBezTo>
                    <a:pt x="38931" y="13368"/>
                    <a:pt x="36371" y="12835"/>
                    <a:pt x="33598" y="12835"/>
                  </a:cubicBezTo>
                  <a:cubicBezTo>
                    <a:pt x="30825" y="12835"/>
                    <a:pt x="28182" y="13344"/>
                    <a:pt x="25859" y="14375"/>
                  </a:cubicBezTo>
                  <a:cubicBezTo>
                    <a:pt x="23536" y="15406"/>
                    <a:pt x="21545" y="16817"/>
                    <a:pt x="19886" y="18630"/>
                  </a:cubicBezTo>
                  <a:cubicBezTo>
                    <a:pt x="18227" y="20443"/>
                    <a:pt x="16923" y="22541"/>
                    <a:pt x="15987" y="24923"/>
                  </a:cubicBezTo>
                  <a:cubicBezTo>
                    <a:pt x="15051" y="27305"/>
                    <a:pt x="14589" y="29853"/>
                    <a:pt x="14589" y="32579"/>
                  </a:cubicBezTo>
                  <a:lnTo>
                    <a:pt x="14589" y="32756"/>
                  </a:lnTo>
                  <a:cubicBezTo>
                    <a:pt x="14589" y="35470"/>
                    <a:pt x="15051" y="38042"/>
                    <a:pt x="15987" y="40448"/>
                  </a:cubicBezTo>
                  <a:cubicBezTo>
                    <a:pt x="16923" y="42865"/>
                    <a:pt x="18251" y="44975"/>
                    <a:pt x="19969" y="46788"/>
                  </a:cubicBezTo>
                  <a:cubicBezTo>
                    <a:pt x="21688" y="48601"/>
                    <a:pt x="23714" y="50035"/>
                    <a:pt x="26037" y="51090"/>
                  </a:cubicBezTo>
                  <a:cubicBezTo>
                    <a:pt x="28360" y="52145"/>
                    <a:pt x="30943" y="52678"/>
                    <a:pt x="33776" y="52678"/>
                  </a:cubicBezTo>
                  <a:cubicBezTo>
                    <a:pt x="36608" y="52678"/>
                    <a:pt x="39121" y="52169"/>
                    <a:pt x="41467" y="51138"/>
                  </a:cubicBezTo>
                  <a:cubicBezTo>
                    <a:pt x="43825" y="50106"/>
                    <a:pt x="45828" y="48696"/>
                    <a:pt x="47487" y="46883"/>
                  </a:cubicBezTo>
                  <a:cubicBezTo>
                    <a:pt x="49147" y="45070"/>
                    <a:pt x="50450" y="42972"/>
                    <a:pt x="51387" y="40590"/>
                  </a:cubicBezTo>
                  <a:cubicBezTo>
                    <a:pt x="52323" y="38208"/>
                    <a:pt x="52785" y="35660"/>
                    <a:pt x="52785" y="32934"/>
                  </a:cubicBezTo>
                  <a:lnTo>
                    <a:pt x="52785" y="32756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FD220D4-A39E-9B22-4F01-D32EC5784D65}"/>
                </a:ext>
              </a:extLst>
            </p:cNvPr>
            <p:cNvSpPr/>
            <p:nvPr/>
          </p:nvSpPr>
          <p:spPr>
            <a:xfrm>
              <a:off x="1692871" y="6591709"/>
              <a:ext cx="63379" cy="63391"/>
            </a:xfrm>
            <a:custGeom>
              <a:avLst/>
              <a:gdLst>
                <a:gd name="connsiteX0" fmla="*/ 49621 w 63379"/>
                <a:gd name="connsiteY0" fmla="*/ 63392 h 63391"/>
                <a:gd name="connsiteX1" fmla="*/ 49621 w 63379"/>
                <a:gd name="connsiteY1" fmla="*/ 22008 h 63391"/>
                <a:gd name="connsiteX2" fmla="*/ 31785 w 63379"/>
                <a:gd name="connsiteY2" fmla="*/ 49075 h 63391"/>
                <a:gd name="connsiteX3" fmla="*/ 31417 w 63379"/>
                <a:gd name="connsiteY3" fmla="*/ 49075 h 63391"/>
                <a:gd name="connsiteX4" fmla="*/ 13759 w 63379"/>
                <a:gd name="connsiteY4" fmla="*/ 22268 h 63391"/>
                <a:gd name="connsiteX5" fmla="*/ 13759 w 63379"/>
                <a:gd name="connsiteY5" fmla="*/ 63380 h 63391"/>
                <a:gd name="connsiteX6" fmla="*/ 0 w 63379"/>
                <a:gd name="connsiteY6" fmla="*/ 63380 h 63391"/>
                <a:gd name="connsiteX7" fmla="*/ 0 w 63379"/>
                <a:gd name="connsiteY7" fmla="*/ 0 h 63391"/>
                <a:gd name="connsiteX8" fmla="*/ 15027 w 63379"/>
                <a:gd name="connsiteY8" fmla="*/ 0 h 63391"/>
                <a:gd name="connsiteX9" fmla="*/ 31690 w 63379"/>
                <a:gd name="connsiteY9" fmla="*/ 26807 h 63391"/>
                <a:gd name="connsiteX10" fmla="*/ 48353 w 63379"/>
                <a:gd name="connsiteY10" fmla="*/ 0 h 63391"/>
                <a:gd name="connsiteX11" fmla="*/ 63380 w 63379"/>
                <a:gd name="connsiteY11" fmla="*/ 0 h 63391"/>
                <a:gd name="connsiteX12" fmla="*/ 63380 w 63379"/>
                <a:gd name="connsiteY12" fmla="*/ 63380 h 63391"/>
                <a:gd name="connsiteX13" fmla="*/ 49621 w 63379"/>
                <a:gd name="connsiteY13" fmla="*/ 63380 h 63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379" h="63391">
                  <a:moveTo>
                    <a:pt x="49621" y="63392"/>
                  </a:moveTo>
                  <a:lnTo>
                    <a:pt x="49621" y="22008"/>
                  </a:lnTo>
                  <a:lnTo>
                    <a:pt x="31785" y="49075"/>
                  </a:lnTo>
                  <a:lnTo>
                    <a:pt x="31417" y="49075"/>
                  </a:lnTo>
                  <a:lnTo>
                    <a:pt x="13759" y="22268"/>
                  </a:lnTo>
                  <a:lnTo>
                    <a:pt x="13759" y="63380"/>
                  </a:lnTo>
                  <a:lnTo>
                    <a:pt x="0" y="63380"/>
                  </a:lnTo>
                  <a:lnTo>
                    <a:pt x="0" y="0"/>
                  </a:lnTo>
                  <a:lnTo>
                    <a:pt x="15027" y="0"/>
                  </a:lnTo>
                  <a:lnTo>
                    <a:pt x="31690" y="26807"/>
                  </a:lnTo>
                  <a:lnTo>
                    <a:pt x="48353" y="0"/>
                  </a:lnTo>
                  <a:lnTo>
                    <a:pt x="63380" y="0"/>
                  </a:lnTo>
                  <a:lnTo>
                    <a:pt x="63380" y="63380"/>
                  </a:lnTo>
                  <a:lnTo>
                    <a:pt x="49621" y="63380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487EDA82-CE3D-A879-4EC0-3182FB6CB657}"/>
                </a:ext>
              </a:extLst>
            </p:cNvPr>
            <p:cNvSpPr/>
            <p:nvPr/>
          </p:nvSpPr>
          <p:spPr>
            <a:xfrm>
              <a:off x="1768671" y="6590654"/>
              <a:ext cx="67361" cy="65548"/>
            </a:xfrm>
            <a:custGeom>
              <a:avLst/>
              <a:gdLst>
                <a:gd name="connsiteX0" fmla="*/ 64826 w 67361"/>
                <a:gd name="connsiteY0" fmla="*/ 45485 h 65548"/>
                <a:gd name="connsiteX1" fmla="*/ 57810 w 67361"/>
                <a:gd name="connsiteY1" fmla="*/ 55902 h 65548"/>
                <a:gd name="connsiteX2" fmla="*/ 47120 w 67361"/>
                <a:gd name="connsiteY2" fmla="*/ 62965 h 65548"/>
                <a:gd name="connsiteX3" fmla="*/ 33586 w 67361"/>
                <a:gd name="connsiteY3" fmla="*/ 65548 h 65548"/>
                <a:gd name="connsiteX4" fmla="*/ 20100 w 67361"/>
                <a:gd name="connsiteY4" fmla="*/ 62965 h 65548"/>
                <a:gd name="connsiteX5" fmla="*/ 9457 w 67361"/>
                <a:gd name="connsiteY5" fmla="*/ 55996 h 65548"/>
                <a:gd name="connsiteX6" fmla="*/ 2489 w 67361"/>
                <a:gd name="connsiteY6" fmla="*/ 45674 h 65548"/>
                <a:gd name="connsiteX7" fmla="*/ 0 w 67361"/>
                <a:gd name="connsiteY7" fmla="*/ 32958 h 65548"/>
                <a:gd name="connsiteX8" fmla="*/ 0 w 67361"/>
                <a:gd name="connsiteY8" fmla="*/ 32780 h 65548"/>
                <a:gd name="connsiteX9" fmla="*/ 2536 w 67361"/>
                <a:gd name="connsiteY9" fmla="*/ 20064 h 65548"/>
                <a:gd name="connsiteX10" fmla="*/ 9552 w 67361"/>
                <a:gd name="connsiteY10" fmla="*/ 9647 h 65548"/>
                <a:gd name="connsiteX11" fmla="*/ 20242 w 67361"/>
                <a:gd name="connsiteY11" fmla="*/ 2584 h 65548"/>
                <a:gd name="connsiteX12" fmla="*/ 33776 w 67361"/>
                <a:gd name="connsiteY12" fmla="*/ 0 h 65548"/>
                <a:gd name="connsiteX13" fmla="*/ 47262 w 67361"/>
                <a:gd name="connsiteY13" fmla="*/ 2584 h 65548"/>
                <a:gd name="connsiteX14" fmla="*/ 57905 w 67361"/>
                <a:gd name="connsiteY14" fmla="*/ 9552 h 65548"/>
                <a:gd name="connsiteX15" fmla="*/ 64873 w 67361"/>
                <a:gd name="connsiteY15" fmla="*/ 19874 h 65548"/>
                <a:gd name="connsiteX16" fmla="*/ 67362 w 67361"/>
                <a:gd name="connsiteY16" fmla="*/ 32591 h 65548"/>
                <a:gd name="connsiteX17" fmla="*/ 67362 w 67361"/>
                <a:gd name="connsiteY17" fmla="*/ 32768 h 65548"/>
                <a:gd name="connsiteX18" fmla="*/ 64826 w 67361"/>
                <a:gd name="connsiteY18" fmla="*/ 45496 h 65548"/>
                <a:gd name="connsiteX19" fmla="*/ 52785 w 67361"/>
                <a:gd name="connsiteY19" fmla="*/ 32756 h 65548"/>
                <a:gd name="connsiteX20" fmla="*/ 51387 w 67361"/>
                <a:gd name="connsiteY20" fmla="*/ 25065 h 65548"/>
                <a:gd name="connsiteX21" fmla="*/ 47405 w 67361"/>
                <a:gd name="connsiteY21" fmla="*/ 18725 h 65548"/>
                <a:gd name="connsiteX22" fmla="*/ 41289 w 67361"/>
                <a:gd name="connsiteY22" fmla="*/ 14423 h 65548"/>
                <a:gd name="connsiteX23" fmla="*/ 33598 w 67361"/>
                <a:gd name="connsiteY23" fmla="*/ 12835 h 65548"/>
                <a:gd name="connsiteX24" fmla="*/ 25859 w 67361"/>
                <a:gd name="connsiteY24" fmla="*/ 14375 h 65548"/>
                <a:gd name="connsiteX25" fmla="*/ 19886 w 67361"/>
                <a:gd name="connsiteY25" fmla="*/ 18630 h 65548"/>
                <a:gd name="connsiteX26" fmla="*/ 15987 w 67361"/>
                <a:gd name="connsiteY26" fmla="*/ 24923 h 65548"/>
                <a:gd name="connsiteX27" fmla="*/ 14589 w 67361"/>
                <a:gd name="connsiteY27" fmla="*/ 32579 h 65548"/>
                <a:gd name="connsiteX28" fmla="*/ 14589 w 67361"/>
                <a:gd name="connsiteY28" fmla="*/ 32756 h 65548"/>
                <a:gd name="connsiteX29" fmla="*/ 15987 w 67361"/>
                <a:gd name="connsiteY29" fmla="*/ 40448 h 65548"/>
                <a:gd name="connsiteX30" fmla="*/ 19969 w 67361"/>
                <a:gd name="connsiteY30" fmla="*/ 46788 h 65548"/>
                <a:gd name="connsiteX31" fmla="*/ 26037 w 67361"/>
                <a:gd name="connsiteY31" fmla="*/ 51090 h 65548"/>
                <a:gd name="connsiteX32" fmla="*/ 33776 w 67361"/>
                <a:gd name="connsiteY32" fmla="*/ 52678 h 65548"/>
                <a:gd name="connsiteX33" fmla="*/ 41467 w 67361"/>
                <a:gd name="connsiteY33" fmla="*/ 51138 h 65548"/>
                <a:gd name="connsiteX34" fmla="*/ 47488 w 67361"/>
                <a:gd name="connsiteY34" fmla="*/ 46883 h 65548"/>
                <a:gd name="connsiteX35" fmla="*/ 51387 w 67361"/>
                <a:gd name="connsiteY35" fmla="*/ 40590 h 65548"/>
                <a:gd name="connsiteX36" fmla="*/ 52785 w 67361"/>
                <a:gd name="connsiteY36" fmla="*/ 32934 h 65548"/>
                <a:gd name="connsiteX37" fmla="*/ 52785 w 67361"/>
                <a:gd name="connsiteY37" fmla="*/ 32756 h 65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7361" h="65548">
                  <a:moveTo>
                    <a:pt x="64826" y="45485"/>
                  </a:moveTo>
                  <a:cubicBezTo>
                    <a:pt x="63131" y="49443"/>
                    <a:pt x="60796" y="52903"/>
                    <a:pt x="57810" y="55902"/>
                  </a:cubicBezTo>
                  <a:cubicBezTo>
                    <a:pt x="54823" y="58900"/>
                    <a:pt x="51256" y="61247"/>
                    <a:pt x="47120" y="62965"/>
                  </a:cubicBezTo>
                  <a:cubicBezTo>
                    <a:pt x="42984" y="64683"/>
                    <a:pt x="38469" y="65548"/>
                    <a:pt x="33586" y="65548"/>
                  </a:cubicBezTo>
                  <a:cubicBezTo>
                    <a:pt x="28703" y="65548"/>
                    <a:pt x="24200" y="64683"/>
                    <a:pt x="20100" y="62965"/>
                  </a:cubicBezTo>
                  <a:cubicBezTo>
                    <a:pt x="15999" y="61247"/>
                    <a:pt x="12444" y="58924"/>
                    <a:pt x="9457" y="55996"/>
                  </a:cubicBezTo>
                  <a:cubicBezTo>
                    <a:pt x="6471" y="53069"/>
                    <a:pt x="4148" y="49632"/>
                    <a:pt x="2489" y="45674"/>
                  </a:cubicBezTo>
                  <a:cubicBezTo>
                    <a:pt x="830" y="41716"/>
                    <a:pt x="0" y="37485"/>
                    <a:pt x="0" y="32958"/>
                  </a:cubicBezTo>
                  <a:lnTo>
                    <a:pt x="0" y="32780"/>
                  </a:lnTo>
                  <a:cubicBezTo>
                    <a:pt x="0" y="28253"/>
                    <a:pt x="841" y="24010"/>
                    <a:pt x="2536" y="20064"/>
                  </a:cubicBezTo>
                  <a:cubicBezTo>
                    <a:pt x="4231" y="16118"/>
                    <a:pt x="6566" y="12645"/>
                    <a:pt x="9552" y="9647"/>
                  </a:cubicBezTo>
                  <a:cubicBezTo>
                    <a:pt x="12539" y="6660"/>
                    <a:pt x="16106" y="4302"/>
                    <a:pt x="20242" y="2584"/>
                  </a:cubicBezTo>
                  <a:cubicBezTo>
                    <a:pt x="24378" y="865"/>
                    <a:pt x="28893" y="0"/>
                    <a:pt x="33776" y="0"/>
                  </a:cubicBezTo>
                  <a:cubicBezTo>
                    <a:pt x="38658" y="0"/>
                    <a:pt x="43162" y="865"/>
                    <a:pt x="47262" y="2584"/>
                  </a:cubicBezTo>
                  <a:cubicBezTo>
                    <a:pt x="51363" y="4302"/>
                    <a:pt x="54918" y="6625"/>
                    <a:pt x="57905" y="9552"/>
                  </a:cubicBezTo>
                  <a:cubicBezTo>
                    <a:pt x="60891" y="12479"/>
                    <a:pt x="63214" y="15916"/>
                    <a:pt x="64873" y="19874"/>
                  </a:cubicBezTo>
                  <a:cubicBezTo>
                    <a:pt x="66532" y="23833"/>
                    <a:pt x="67362" y="28063"/>
                    <a:pt x="67362" y="32591"/>
                  </a:cubicBezTo>
                  <a:lnTo>
                    <a:pt x="67362" y="32768"/>
                  </a:lnTo>
                  <a:cubicBezTo>
                    <a:pt x="67362" y="37295"/>
                    <a:pt x="66520" y="41538"/>
                    <a:pt x="64826" y="45496"/>
                  </a:cubicBezTo>
                  <a:close/>
                  <a:moveTo>
                    <a:pt x="52785" y="32756"/>
                  </a:moveTo>
                  <a:cubicBezTo>
                    <a:pt x="52785" y="30043"/>
                    <a:pt x="52323" y="27471"/>
                    <a:pt x="51387" y="25065"/>
                  </a:cubicBezTo>
                  <a:cubicBezTo>
                    <a:pt x="50450" y="22647"/>
                    <a:pt x="49123" y="20538"/>
                    <a:pt x="47405" y="18725"/>
                  </a:cubicBezTo>
                  <a:cubicBezTo>
                    <a:pt x="45686" y="16912"/>
                    <a:pt x="43648" y="15478"/>
                    <a:pt x="41289" y="14423"/>
                  </a:cubicBezTo>
                  <a:cubicBezTo>
                    <a:pt x="38931" y="13368"/>
                    <a:pt x="36371" y="12835"/>
                    <a:pt x="33598" y="12835"/>
                  </a:cubicBezTo>
                  <a:cubicBezTo>
                    <a:pt x="30825" y="12835"/>
                    <a:pt x="28182" y="13344"/>
                    <a:pt x="25859" y="14375"/>
                  </a:cubicBezTo>
                  <a:cubicBezTo>
                    <a:pt x="23536" y="15406"/>
                    <a:pt x="21545" y="16817"/>
                    <a:pt x="19886" y="18630"/>
                  </a:cubicBezTo>
                  <a:cubicBezTo>
                    <a:pt x="18227" y="20443"/>
                    <a:pt x="16923" y="22541"/>
                    <a:pt x="15987" y="24923"/>
                  </a:cubicBezTo>
                  <a:cubicBezTo>
                    <a:pt x="15051" y="27305"/>
                    <a:pt x="14589" y="29853"/>
                    <a:pt x="14589" y="32579"/>
                  </a:cubicBezTo>
                  <a:lnTo>
                    <a:pt x="14589" y="32756"/>
                  </a:lnTo>
                  <a:cubicBezTo>
                    <a:pt x="14589" y="35470"/>
                    <a:pt x="15051" y="38042"/>
                    <a:pt x="15987" y="40448"/>
                  </a:cubicBezTo>
                  <a:cubicBezTo>
                    <a:pt x="16923" y="42865"/>
                    <a:pt x="18251" y="44975"/>
                    <a:pt x="19969" y="46788"/>
                  </a:cubicBezTo>
                  <a:cubicBezTo>
                    <a:pt x="21688" y="48601"/>
                    <a:pt x="23714" y="50035"/>
                    <a:pt x="26037" y="51090"/>
                  </a:cubicBezTo>
                  <a:cubicBezTo>
                    <a:pt x="28360" y="52145"/>
                    <a:pt x="30943" y="52678"/>
                    <a:pt x="33776" y="52678"/>
                  </a:cubicBezTo>
                  <a:cubicBezTo>
                    <a:pt x="36608" y="52678"/>
                    <a:pt x="39121" y="52169"/>
                    <a:pt x="41467" y="51138"/>
                  </a:cubicBezTo>
                  <a:cubicBezTo>
                    <a:pt x="43826" y="50106"/>
                    <a:pt x="45828" y="48696"/>
                    <a:pt x="47488" y="46883"/>
                  </a:cubicBezTo>
                  <a:cubicBezTo>
                    <a:pt x="49147" y="45070"/>
                    <a:pt x="50450" y="42972"/>
                    <a:pt x="51387" y="40590"/>
                  </a:cubicBezTo>
                  <a:cubicBezTo>
                    <a:pt x="52323" y="38208"/>
                    <a:pt x="52785" y="35660"/>
                    <a:pt x="52785" y="32934"/>
                  </a:cubicBezTo>
                  <a:lnTo>
                    <a:pt x="52785" y="32756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D1941B7B-BE50-E924-38B4-0F297BA3C484}"/>
                </a:ext>
              </a:extLst>
            </p:cNvPr>
            <p:cNvSpPr/>
            <p:nvPr/>
          </p:nvSpPr>
          <p:spPr>
            <a:xfrm>
              <a:off x="1976552" y="6590654"/>
              <a:ext cx="67361" cy="65548"/>
            </a:xfrm>
            <a:custGeom>
              <a:avLst/>
              <a:gdLst>
                <a:gd name="connsiteX0" fmla="*/ 64826 w 67361"/>
                <a:gd name="connsiteY0" fmla="*/ 45485 h 65548"/>
                <a:gd name="connsiteX1" fmla="*/ 57810 w 67361"/>
                <a:gd name="connsiteY1" fmla="*/ 55902 h 65548"/>
                <a:gd name="connsiteX2" fmla="*/ 47120 w 67361"/>
                <a:gd name="connsiteY2" fmla="*/ 62965 h 65548"/>
                <a:gd name="connsiteX3" fmla="*/ 33586 w 67361"/>
                <a:gd name="connsiteY3" fmla="*/ 65548 h 65548"/>
                <a:gd name="connsiteX4" fmla="*/ 20099 w 67361"/>
                <a:gd name="connsiteY4" fmla="*/ 62965 h 65548"/>
                <a:gd name="connsiteX5" fmla="*/ 9457 w 67361"/>
                <a:gd name="connsiteY5" fmla="*/ 55996 h 65548"/>
                <a:gd name="connsiteX6" fmla="*/ 2489 w 67361"/>
                <a:gd name="connsiteY6" fmla="*/ 45674 h 65548"/>
                <a:gd name="connsiteX7" fmla="*/ 0 w 67361"/>
                <a:gd name="connsiteY7" fmla="*/ 32958 h 65548"/>
                <a:gd name="connsiteX8" fmla="*/ 0 w 67361"/>
                <a:gd name="connsiteY8" fmla="*/ 32780 h 65548"/>
                <a:gd name="connsiteX9" fmla="*/ 2536 w 67361"/>
                <a:gd name="connsiteY9" fmla="*/ 20064 h 65548"/>
                <a:gd name="connsiteX10" fmla="*/ 9552 w 67361"/>
                <a:gd name="connsiteY10" fmla="*/ 9647 h 65548"/>
                <a:gd name="connsiteX11" fmla="*/ 20242 w 67361"/>
                <a:gd name="connsiteY11" fmla="*/ 2584 h 65548"/>
                <a:gd name="connsiteX12" fmla="*/ 33776 w 67361"/>
                <a:gd name="connsiteY12" fmla="*/ 0 h 65548"/>
                <a:gd name="connsiteX13" fmla="*/ 47262 w 67361"/>
                <a:gd name="connsiteY13" fmla="*/ 2584 h 65548"/>
                <a:gd name="connsiteX14" fmla="*/ 57905 w 67361"/>
                <a:gd name="connsiteY14" fmla="*/ 9552 h 65548"/>
                <a:gd name="connsiteX15" fmla="*/ 64873 w 67361"/>
                <a:gd name="connsiteY15" fmla="*/ 19874 h 65548"/>
                <a:gd name="connsiteX16" fmla="*/ 67362 w 67361"/>
                <a:gd name="connsiteY16" fmla="*/ 32591 h 65548"/>
                <a:gd name="connsiteX17" fmla="*/ 67362 w 67361"/>
                <a:gd name="connsiteY17" fmla="*/ 32768 h 65548"/>
                <a:gd name="connsiteX18" fmla="*/ 64826 w 67361"/>
                <a:gd name="connsiteY18" fmla="*/ 45496 h 65548"/>
                <a:gd name="connsiteX19" fmla="*/ 52785 w 67361"/>
                <a:gd name="connsiteY19" fmla="*/ 32756 h 65548"/>
                <a:gd name="connsiteX20" fmla="*/ 51387 w 67361"/>
                <a:gd name="connsiteY20" fmla="*/ 25065 h 65548"/>
                <a:gd name="connsiteX21" fmla="*/ 47405 w 67361"/>
                <a:gd name="connsiteY21" fmla="*/ 18725 h 65548"/>
                <a:gd name="connsiteX22" fmla="*/ 41289 w 67361"/>
                <a:gd name="connsiteY22" fmla="*/ 14423 h 65548"/>
                <a:gd name="connsiteX23" fmla="*/ 33598 w 67361"/>
                <a:gd name="connsiteY23" fmla="*/ 12835 h 65548"/>
                <a:gd name="connsiteX24" fmla="*/ 25859 w 67361"/>
                <a:gd name="connsiteY24" fmla="*/ 14375 h 65548"/>
                <a:gd name="connsiteX25" fmla="*/ 19886 w 67361"/>
                <a:gd name="connsiteY25" fmla="*/ 18630 h 65548"/>
                <a:gd name="connsiteX26" fmla="*/ 15987 w 67361"/>
                <a:gd name="connsiteY26" fmla="*/ 24923 h 65548"/>
                <a:gd name="connsiteX27" fmla="*/ 14589 w 67361"/>
                <a:gd name="connsiteY27" fmla="*/ 32579 h 65548"/>
                <a:gd name="connsiteX28" fmla="*/ 14589 w 67361"/>
                <a:gd name="connsiteY28" fmla="*/ 32756 h 65548"/>
                <a:gd name="connsiteX29" fmla="*/ 15987 w 67361"/>
                <a:gd name="connsiteY29" fmla="*/ 40448 h 65548"/>
                <a:gd name="connsiteX30" fmla="*/ 19969 w 67361"/>
                <a:gd name="connsiteY30" fmla="*/ 46788 h 65548"/>
                <a:gd name="connsiteX31" fmla="*/ 26037 w 67361"/>
                <a:gd name="connsiteY31" fmla="*/ 51090 h 65548"/>
                <a:gd name="connsiteX32" fmla="*/ 33776 w 67361"/>
                <a:gd name="connsiteY32" fmla="*/ 52678 h 65548"/>
                <a:gd name="connsiteX33" fmla="*/ 41467 w 67361"/>
                <a:gd name="connsiteY33" fmla="*/ 51138 h 65548"/>
                <a:gd name="connsiteX34" fmla="*/ 47487 w 67361"/>
                <a:gd name="connsiteY34" fmla="*/ 46883 h 65548"/>
                <a:gd name="connsiteX35" fmla="*/ 51387 w 67361"/>
                <a:gd name="connsiteY35" fmla="*/ 40590 h 65548"/>
                <a:gd name="connsiteX36" fmla="*/ 52785 w 67361"/>
                <a:gd name="connsiteY36" fmla="*/ 32934 h 65548"/>
                <a:gd name="connsiteX37" fmla="*/ 52785 w 67361"/>
                <a:gd name="connsiteY37" fmla="*/ 32756 h 65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7361" h="65548">
                  <a:moveTo>
                    <a:pt x="64826" y="45485"/>
                  </a:moveTo>
                  <a:cubicBezTo>
                    <a:pt x="63131" y="49443"/>
                    <a:pt x="60796" y="52903"/>
                    <a:pt x="57810" y="55902"/>
                  </a:cubicBezTo>
                  <a:cubicBezTo>
                    <a:pt x="54823" y="58900"/>
                    <a:pt x="51256" y="61247"/>
                    <a:pt x="47120" y="62965"/>
                  </a:cubicBezTo>
                  <a:cubicBezTo>
                    <a:pt x="42984" y="64683"/>
                    <a:pt x="38469" y="65548"/>
                    <a:pt x="33586" y="65548"/>
                  </a:cubicBezTo>
                  <a:cubicBezTo>
                    <a:pt x="28703" y="65548"/>
                    <a:pt x="24200" y="64683"/>
                    <a:pt x="20099" y="62965"/>
                  </a:cubicBezTo>
                  <a:cubicBezTo>
                    <a:pt x="15999" y="61247"/>
                    <a:pt x="12444" y="58924"/>
                    <a:pt x="9457" y="55996"/>
                  </a:cubicBezTo>
                  <a:cubicBezTo>
                    <a:pt x="6471" y="53069"/>
                    <a:pt x="4148" y="49632"/>
                    <a:pt x="2489" y="45674"/>
                  </a:cubicBezTo>
                  <a:cubicBezTo>
                    <a:pt x="830" y="41716"/>
                    <a:pt x="0" y="37485"/>
                    <a:pt x="0" y="32958"/>
                  </a:cubicBezTo>
                  <a:lnTo>
                    <a:pt x="0" y="32780"/>
                  </a:lnTo>
                  <a:cubicBezTo>
                    <a:pt x="0" y="28253"/>
                    <a:pt x="841" y="24010"/>
                    <a:pt x="2536" y="20064"/>
                  </a:cubicBezTo>
                  <a:cubicBezTo>
                    <a:pt x="4231" y="16118"/>
                    <a:pt x="6566" y="12645"/>
                    <a:pt x="9552" y="9647"/>
                  </a:cubicBezTo>
                  <a:cubicBezTo>
                    <a:pt x="12538" y="6660"/>
                    <a:pt x="16106" y="4302"/>
                    <a:pt x="20242" y="2584"/>
                  </a:cubicBezTo>
                  <a:cubicBezTo>
                    <a:pt x="24378" y="865"/>
                    <a:pt x="28893" y="0"/>
                    <a:pt x="33776" y="0"/>
                  </a:cubicBezTo>
                  <a:cubicBezTo>
                    <a:pt x="38658" y="0"/>
                    <a:pt x="43162" y="865"/>
                    <a:pt x="47262" y="2584"/>
                  </a:cubicBezTo>
                  <a:cubicBezTo>
                    <a:pt x="51363" y="4302"/>
                    <a:pt x="54918" y="6625"/>
                    <a:pt x="57905" y="9552"/>
                  </a:cubicBezTo>
                  <a:cubicBezTo>
                    <a:pt x="60891" y="12479"/>
                    <a:pt x="63214" y="15916"/>
                    <a:pt x="64873" y="19874"/>
                  </a:cubicBezTo>
                  <a:cubicBezTo>
                    <a:pt x="66532" y="23833"/>
                    <a:pt x="67362" y="28063"/>
                    <a:pt x="67362" y="32591"/>
                  </a:cubicBezTo>
                  <a:lnTo>
                    <a:pt x="67362" y="32768"/>
                  </a:lnTo>
                  <a:cubicBezTo>
                    <a:pt x="67362" y="37295"/>
                    <a:pt x="66520" y="41538"/>
                    <a:pt x="64826" y="45496"/>
                  </a:cubicBezTo>
                  <a:close/>
                  <a:moveTo>
                    <a:pt x="52785" y="32756"/>
                  </a:moveTo>
                  <a:cubicBezTo>
                    <a:pt x="52785" y="30043"/>
                    <a:pt x="52323" y="27471"/>
                    <a:pt x="51387" y="25065"/>
                  </a:cubicBezTo>
                  <a:cubicBezTo>
                    <a:pt x="50450" y="22647"/>
                    <a:pt x="49123" y="20538"/>
                    <a:pt x="47405" y="18725"/>
                  </a:cubicBezTo>
                  <a:cubicBezTo>
                    <a:pt x="45686" y="16912"/>
                    <a:pt x="43648" y="15478"/>
                    <a:pt x="41289" y="14423"/>
                  </a:cubicBezTo>
                  <a:cubicBezTo>
                    <a:pt x="38931" y="13368"/>
                    <a:pt x="36371" y="12835"/>
                    <a:pt x="33598" y="12835"/>
                  </a:cubicBezTo>
                  <a:cubicBezTo>
                    <a:pt x="30825" y="12835"/>
                    <a:pt x="28182" y="13344"/>
                    <a:pt x="25859" y="14375"/>
                  </a:cubicBezTo>
                  <a:cubicBezTo>
                    <a:pt x="23536" y="15406"/>
                    <a:pt x="21545" y="16817"/>
                    <a:pt x="19886" y="18630"/>
                  </a:cubicBezTo>
                  <a:cubicBezTo>
                    <a:pt x="18227" y="20443"/>
                    <a:pt x="16923" y="22541"/>
                    <a:pt x="15987" y="24923"/>
                  </a:cubicBezTo>
                  <a:cubicBezTo>
                    <a:pt x="15051" y="27305"/>
                    <a:pt x="14589" y="29853"/>
                    <a:pt x="14589" y="32579"/>
                  </a:cubicBezTo>
                  <a:lnTo>
                    <a:pt x="14589" y="32756"/>
                  </a:lnTo>
                  <a:cubicBezTo>
                    <a:pt x="14589" y="35470"/>
                    <a:pt x="15051" y="38042"/>
                    <a:pt x="15987" y="40448"/>
                  </a:cubicBezTo>
                  <a:cubicBezTo>
                    <a:pt x="16923" y="42865"/>
                    <a:pt x="18251" y="44975"/>
                    <a:pt x="19969" y="46788"/>
                  </a:cubicBezTo>
                  <a:cubicBezTo>
                    <a:pt x="21688" y="48601"/>
                    <a:pt x="23714" y="50035"/>
                    <a:pt x="26037" y="51090"/>
                  </a:cubicBezTo>
                  <a:cubicBezTo>
                    <a:pt x="28360" y="52145"/>
                    <a:pt x="30943" y="52678"/>
                    <a:pt x="33776" y="52678"/>
                  </a:cubicBezTo>
                  <a:cubicBezTo>
                    <a:pt x="36608" y="52678"/>
                    <a:pt x="39121" y="52169"/>
                    <a:pt x="41467" y="51138"/>
                  </a:cubicBezTo>
                  <a:cubicBezTo>
                    <a:pt x="43825" y="50106"/>
                    <a:pt x="45828" y="48696"/>
                    <a:pt x="47487" y="46883"/>
                  </a:cubicBezTo>
                  <a:cubicBezTo>
                    <a:pt x="49147" y="45070"/>
                    <a:pt x="50450" y="42972"/>
                    <a:pt x="51387" y="40590"/>
                  </a:cubicBezTo>
                  <a:cubicBezTo>
                    <a:pt x="52323" y="38208"/>
                    <a:pt x="52785" y="35660"/>
                    <a:pt x="52785" y="32934"/>
                  </a:cubicBezTo>
                  <a:lnTo>
                    <a:pt x="52785" y="32756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73DBD54D-A2C7-C872-815C-C8E5EC00A19F}"/>
                </a:ext>
              </a:extLst>
            </p:cNvPr>
            <p:cNvSpPr/>
            <p:nvPr/>
          </p:nvSpPr>
          <p:spPr>
            <a:xfrm>
              <a:off x="2045181" y="6591543"/>
              <a:ext cx="96183" cy="64019"/>
            </a:xfrm>
            <a:custGeom>
              <a:avLst/>
              <a:gdLst>
                <a:gd name="connsiteX0" fmla="*/ 74520 w 96183"/>
                <a:gd name="connsiteY0" fmla="*/ 64020 h 64019"/>
                <a:gd name="connsiteX1" fmla="*/ 62384 w 96183"/>
                <a:gd name="connsiteY1" fmla="*/ 64020 h 64019"/>
                <a:gd name="connsiteX2" fmla="*/ 48080 w 96183"/>
                <a:gd name="connsiteY2" fmla="*/ 22553 h 64019"/>
                <a:gd name="connsiteX3" fmla="*/ 33776 w 96183"/>
                <a:gd name="connsiteY3" fmla="*/ 64020 h 64019"/>
                <a:gd name="connsiteX4" fmla="*/ 21640 w 96183"/>
                <a:gd name="connsiteY4" fmla="*/ 64020 h 64019"/>
                <a:gd name="connsiteX5" fmla="*/ 0 w 96183"/>
                <a:gd name="connsiteY5" fmla="*/ 190 h 64019"/>
                <a:gd name="connsiteX6" fmla="*/ 14944 w 96183"/>
                <a:gd name="connsiteY6" fmla="*/ 190 h 64019"/>
                <a:gd name="connsiteX7" fmla="*/ 28075 w 96183"/>
                <a:gd name="connsiteY7" fmla="*/ 43102 h 64019"/>
                <a:gd name="connsiteX8" fmla="*/ 42297 w 96183"/>
                <a:gd name="connsiteY8" fmla="*/ 0 h 64019"/>
                <a:gd name="connsiteX9" fmla="*/ 54254 w 96183"/>
                <a:gd name="connsiteY9" fmla="*/ 0 h 64019"/>
                <a:gd name="connsiteX10" fmla="*/ 68476 w 96183"/>
                <a:gd name="connsiteY10" fmla="*/ 43102 h 64019"/>
                <a:gd name="connsiteX11" fmla="*/ 81607 w 96183"/>
                <a:gd name="connsiteY11" fmla="*/ 190 h 64019"/>
                <a:gd name="connsiteX12" fmla="*/ 96184 w 96183"/>
                <a:gd name="connsiteY12" fmla="*/ 190 h 64019"/>
                <a:gd name="connsiteX13" fmla="*/ 74544 w 96183"/>
                <a:gd name="connsiteY13" fmla="*/ 64020 h 6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6183" h="64019">
                  <a:moveTo>
                    <a:pt x="74520" y="64020"/>
                  </a:moveTo>
                  <a:lnTo>
                    <a:pt x="62384" y="64020"/>
                  </a:lnTo>
                  <a:lnTo>
                    <a:pt x="48080" y="22553"/>
                  </a:lnTo>
                  <a:lnTo>
                    <a:pt x="33776" y="64020"/>
                  </a:lnTo>
                  <a:lnTo>
                    <a:pt x="21640" y="64020"/>
                  </a:lnTo>
                  <a:lnTo>
                    <a:pt x="0" y="190"/>
                  </a:lnTo>
                  <a:lnTo>
                    <a:pt x="14944" y="190"/>
                  </a:lnTo>
                  <a:lnTo>
                    <a:pt x="28075" y="43102"/>
                  </a:lnTo>
                  <a:lnTo>
                    <a:pt x="42297" y="0"/>
                  </a:lnTo>
                  <a:lnTo>
                    <a:pt x="54254" y="0"/>
                  </a:lnTo>
                  <a:lnTo>
                    <a:pt x="68476" y="43102"/>
                  </a:lnTo>
                  <a:lnTo>
                    <a:pt x="81607" y="190"/>
                  </a:lnTo>
                  <a:lnTo>
                    <a:pt x="96184" y="190"/>
                  </a:lnTo>
                  <a:lnTo>
                    <a:pt x="74544" y="64020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04EC2B7B-F418-15DD-D375-D2E89355B8A4}"/>
                </a:ext>
              </a:extLst>
            </p:cNvPr>
            <p:cNvSpPr/>
            <p:nvPr/>
          </p:nvSpPr>
          <p:spPr>
            <a:xfrm>
              <a:off x="1847244" y="6591863"/>
              <a:ext cx="54787" cy="63379"/>
            </a:xfrm>
            <a:custGeom>
              <a:avLst/>
              <a:gdLst>
                <a:gd name="connsiteX0" fmla="*/ 36004 w 54787"/>
                <a:gd name="connsiteY0" fmla="*/ 40744 h 63379"/>
                <a:gd name="connsiteX1" fmla="*/ 49123 w 54787"/>
                <a:gd name="connsiteY1" fmla="*/ 33633 h 63379"/>
                <a:gd name="connsiteX2" fmla="*/ 52880 w 54787"/>
                <a:gd name="connsiteY2" fmla="*/ 21095 h 63379"/>
                <a:gd name="connsiteX3" fmla="*/ 52880 w 54787"/>
                <a:gd name="connsiteY3" fmla="*/ 20917 h 63379"/>
                <a:gd name="connsiteX4" fmla="*/ 46587 w 54787"/>
                <a:gd name="connsiteY4" fmla="*/ 5523 h 63379"/>
                <a:gd name="connsiteX5" fmla="*/ 28976 w 54787"/>
                <a:gd name="connsiteY5" fmla="*/ 0 h 63379"/>
                <a:gd name="connsiteX6" fmla="*/ 0 w 54787"/>
                <a:gd name="connsiteY6" fmla="*/ 0 h 63379"/>
                <a:gd name="connsiteX7" fmla="*/ 0 w 54787"/>
                <a:gd name="connsiteY7" fmla="*/ 63380 h 63379"/>
                <a:gd name="connsiteX8" fmla="*/ 13949 w 54787"/>
                <a:gd name="connsiteY8" fmla="*/ 63380 h 63379"/>
                <a:gd name="connsiteX9" fmla="*/ 13949 w 54787"/>
                <a:gd name="connsiteY9" fmla="*/ 12586 h 63379"/>
                <a:gd name="connsiteX10" fmla="*/ 27803 w 54787"/>
                <a:gd name="connsiteY10" fmla="*/ 12586 h 63379"/>
                <a:gd name="connsiteX11" fmla="*/ 35862 w 54787"/>
                <a:gd name="connsiteY11" fmla="*/ 14849 h 63379"/>
                <a:gd name="connsiteX12" fmla="*/ 38765 w 54787"/>
                <a:gd name="connsiteY12" fmla="*/ 21640 h 63379"/>
                <a:gd name="connsiteX13" fmla="*/ 38765 w 54787"/>
                <a:gd name="connsiteY13" fmla="*/ 21818 h 63379"/>
                <a:gd name="connsiteX14" fmla="*/ 36004 w 54787"/>
                <a:gd name="connsiteY14" fmla="*/ 28336 h 63379"/>
                <a:gd name="connsiteX15" fmla="*/ 28075 w 54787"/>
                <a:gd name="connsiteY15" fmla="*/ 30777 h 63379"/>
                <a:gd name="connsiteX16" fmla="*/ 20941 w 54787"/>
                <a:gd name="connsiteY16" fmla="*/ 30777 h 63379"/>
                <a:gd name="connsiteX17" fmla="*/ 20941 w 54787"/>
                <a:gd name="connsiteY17" fmla="*/ 43091 h 63379"/>
                <a:gd name="connsiteX18" fmla="*/ 36122 w 54787"/>
                <a:gd name="connsiteY18" fmla="*/ 63368 h 63379"/>
                <a:gd name="connsiteX19" fmla="*/ 54788 w 54787"/>
                <a:gd name="connsiteY19" fmla="*/ 63368 h 63379"/>
                <a:gd name="connsiteX20" fmla="*/ 36004 w 54787"/>
                <a:gd name="connsiteY20" fmla="*/ 40732 h 63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4787" h="63379">
                  <a:moveTo>
                    <a:pt x="36004" y="40744"/>
                  </a:moveTo>
                  <a:cubicBezTo>
                    <a:pt x="43956" y="39038"/>
                    <a:pt x="46622" y="36869"/>
                    <a:pt x="49123" y="33633"/>
                  </a:cubicBezTo>
                  <a:cubicBezTo>
                    <a:pt x="51624" y="30398"/>
                    <a:pt x="52880" y="26227"/>
                    <a:pt x="52880" y="21095"/>
                  </a:cubicBezTo>
                  <a:lnTo>
                    <a:pt x="52880" y="20917"/>
                  </a:lnTo>
                  <a:cubicBezTo>
                    <a:pt x="52880" y="14340"/>
                    <a:pt x="50782" y="9208"/>
                    <a:pt x="46587" y="5523"/>
                  </a:cubicBezTo>
                  <a:cubicBezTo>
                    <a:pt x="42391" y="1837"/>
                    <a:pt x="36525" y="0"/>
                    <a:pt x="28976" y="0"/>
                  </a:cubicBezTo>
                  <a:lnTo>
                    <a:pt x="0" y="0"/>
                  </a:lnTo>
                  <a:lnTo>
                    <a:pt x="0" y="63380"/>
                  </a:lnTo>
                  <a:lnTo>
                    <a:pt x="13949" y="63380"/>
                  </a:lnTo>
                  <a:lnTo>
                    <a:pt x="13949" y="12586"/>
                  </a:lnTo>
                  <a:lnTo>
                    <a:pt x="27803" y="12586"/>
                  </a:lnTo>
                  <a:cubicBezTo>
                    <a:pt x="31240" y="12586"/>
                    <a:pt x="33930" y="13344"/>
                    <a:pt x="35862" y="14849"/>
                  </a:cubicBezTo>
                  <a:cubicBezTo>
                    <a:pt x="37793" y="16355"/>
                    <a:pt x="38765" y="18618"/>
                    <a:pt x="38765" y="21640"/>
                  </a:cubicBezTo>
                  <a:lnTo>
                    <a:pt x="38765" y="21818"/>
                  </a:lnTo>
                  <a:cubicBezTo>
                    <a:pt x="38765" y="24532"/>
                    <a:pt x="37841" y="26701"/>
                    <a:pt x="36004" y="28336"/>
                  </a:cubicBezTo>
                  <a:cubicBezTo>
                    <a:pt x="34167" y="29971"/>
                    <a:pt x="31524" y="30777"/>
                    <a:pt x="28075" y="30777"/>
                  </a:cubicBezTo>
                  <a:lnTo>
                    <a:pt x="20941" y="30777"/>
                  </a:lnTo>
                  <a:lnTo>
                    <a:pt x="20941" y="43091"/>
                  </a:lnTo>
                  <a:lnTo>
                    <a:pt x="36122" y="63368"/>
                  </a:lnTo>
                  <a:lnTo>
                    <a:pt x="54788" y="63368"/>
                  </a:lnTo>
                  <a:lnTo>
                    <a:pt x="36004" y="40732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84663B6E-4EAD-EB5A-10F7-16F8D3E5B053}"/>
                </a:ext>
              </a:extLst>
            </p:cNvPr>
            <p:cNvSpPr/>
            <p:nvPr/>
          </p:nvSpPr>
          <p:spPr>
            <a:xfrm>
              <a:off x="1913895" y="6591863"/>
              <a:ext cx="54787" cy="63379"/>
            </a:xfrm>
            <a:custGeom>
              <a:avLst/>
              <a:gdLst>
                <a:gd name="connsiteX0" fmla="*/ 36004 w 54787"/>
                <a:gd name="connsiteY0" fmla="*/ 40744 h 63379"/>
                <a:gd name="connsiteX1" fmla="*/ 49123 w 54787"/>
                <a:gd name="connsiteY1" fmla="*/ 33633 h 63379"/>
                <a:gd name="connsiteX2" fmla="*/ 52880 w 54787"/>
                <a:gd name="connsiteY2" fmla="*/ 21095 h 63379"/>
                <a:gd name="connsiteX3" fmla="*/ 52880 w 54787"/>
                <a:gd name="connsiteY3" fmla="*/ 20917 h 63379"/>
                <a:gd name="connsiteX4" fmla="*/ 46587 w 54787"/>
                <a:gd name="connsiteY4" fmla="*/ 5523 h 63379"/>
                <a:gd name="connsiteX5" fmla="*/ 28976 w 54787"/>
                <a:gd name="connsiteY5" fmla="*/ 0 h 63379"/>
                <a:gd name="connsiteX6" fmla="*/ 0 w 54787"/>
                <a:gd name="connsiteY6" fmla="*/ 0 h 63379"/>
                <a:gd name="connsiteX7" fmla="*/ 0 w 54787"/>
                <a:gd name="connsiteY7" fmla="*/ 63380 h 63379"/>
                <a:gd name="connsiteX8" fmla="*/ 13949 w 54787"/>
                <a:gd name="connsiteY8" fmla="*/ 63380 h 63379"/>
                <a:gd name="connsiteX9" fmla="*/ 13949 w 54787"/>
                <a:gd name="connsiteY9" fmla="*/ 12586 h 63379"/>
                <a:gd name="connsiteX10" fmla="*/ 27803 w 54787"/>
                <a:gd name="connsiteY10" fmla="*/ 12586 h 63379"/>
                <a:gd name="connsiteX11" fmla="*/ 35862 w 54787"/>
                <a:gd name="connsiteY11" fmla="*/ 14849 h 63379"/>
                <a:gd name="connsiteX12" fmla="*/ 38765 w 54787"/>
                <a:gd name="connsiteY12" fmla="*/ 21640 h 63379"/>
                <a:gd name="connsiteX13" fmla="*/ 38765 w 54787"/>
                <a:gd name="connsiteY13" fmla="*/ 21818 h 63379"/>
                <a:gd name="connsiteX14" fmla="*/ 36004 w 54787"/>
                <a:gd name="connsiteY14" fmla="*/ 28336 h 63379"/>
                <a:gd name="connsiteX15" fmla="*/ 28075 w 54787"/>
                <a:gd name="connsiteY15" fmla="*/ 30777 h 63379"/>
                <a:gd name="connsiteX16" fmla="*/ 20941 w 54787"/>
                <a:gd name="connsiteY16" fmla="*/ 30777 h 63379"/>
                <a:gd name="connsiteX17" fmla="*/ 20941 w 54787"/>
                <a:gd name="connsiteY17" fmla="*/ 43091 h 63379"/>
                <a:gd name="connsiteX18" fmla="*/ 36122 w 54787"/>
                <a:gd name="connsiteY18" fmla="*/ 63368 h 63379"/>
                <a:gd name="connsiteX19" fmla="*/ 54788 w 54787"/>
                <a:gd name="connsiteY19" fmla="*/ 63368 h 63379"/>
                <a:gd name="connsiteX20" fmla="*/ 36004 w 54787"/>
                <a:gd name="connsiteY20" fmla="*/ 40732 h 63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4787" h="63379">
                  <a:moveTo>
                    <a:pt x="36004" y="40744"/>
                  </a:moveTo>
                  <a:cubicBezTo>
                    <a:pt x="43956" y="39038"/>
                    <a:pt x="46622" y="36869"/>
                    <a:pt x="49123" y="33633"/>
                  </a:cubicBezTo>
                  <a:cubicBezTo>
                    <a:pt x="51624" y="30398"/>
                    <a:pt x="52880" y="26227"/>
                    <a:pt x="52880" y="21095"/>
                  </a:cubicBezTo>
                  <a:lnTo>
                    <a:pt x="52880" y="20917"/>
                  </a:lnTo>
                  <a:cubicBezTo>
                    <a:pt x="52880" y="14340"/>
                    <a:pt x="50782" y="9208"/>
                    <a:pt x="46587" y="5523"/>
                  </a:cubicBezTo>
                  <a:cubicBezTo>
                    <a:pt x="42391" y="1837"/>
                    <a:pt x="36525" y="0"/>
                    <a:pt x="28976" y="0"/>
                  </a:cubicBezTo>
                  <a:lnTo>
                    <a:pt x="0" y="0"/>
                  </a:lnTo>
                  <a:lnTo>
                    <a:pt x="0" y="63380"/>
                  </a:lnTo>
                  <a:lnTo>
                    <a:pt x="13949" y="63380"/>
                  </a:lnTo>
                  <a:lnTo>
                    <a:pt x="13949" y="12586"/>
                  </a:lnTo>
                  <a:lnTo>
                    <a:pt x="27803" y="12586"/>
                  </a:lnTo>
                  <a:cubicBezTo>
                    <a:pt x="31240" y="12586"/>
                    <a:pt x="33930" y="13344"/>
                    <a:pt x="35862" y="14849"/>
                  </a:cubicBezTo>
                  <a:cubicBezTo>
                    <a:pt x="37793" y="16355"/>
                    <a:pt x="38765" y="18618"/>
                    <a:pt x="38765" y="21640"/>
                  </a:cubicBezTo>
                  <a:lnTo>
                    <a:pt x="38765" y="21818"/>
                  </a:lnTo>
                  <a:cubicBezTo>
                    <a:pt x="38765" y="24532"/>
                    <a:pt x="37841" y="26701"/>
                    <a:pt x="36004" y="28336"/>
                  </a:cubicBezTo>
                  <a:cubicBezTo>
                    <a:pt x="34167" y="29971"/>
                    <a:pt x="31524" y="30777"/>
                    <a:pt x="28075" y="30777"/>
                  </a:cubicBezTo>
                  <a:lnTo>
                    <a:pt x="20941" y="30777"/>
                  </a:lnTo>
                  <a:lnTo>
                    <a:pt x="20941" y="43091"/>
                  </a:lnTo>
                  <a:lnTo>
                    <a:pt x="36122" y="63368"/>
                  </a:lnTo>
                  <a:lnTo>
                    <a:pt x="54788" y="63368"/>
                  </a:lnTo>
                  <a:lnTo>
                    <a:pt x="36004" y="40732"/>
                  </a:lnTo>
                  <a:close/>
                </a:path>
              </a:pathLst>
            </a:custGeom>
            <a:grpFill/>
            <a:ln w="11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572E9370-2C59-6C38-5624-959AA96C2220}"/>
              </a:ext>
            </a:extLst>
          </p:cNvPr>
          <p:cNvSpPr txBox="1">
            <a:spLocks/>
          </p:cNvSpPr>
          <p:nvPr userDrawn="1"/>
        </p:nvSpPr>
        <p:spPr>
          <a:xfrm>
            <a:off x="10925833" y="6419828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1E3C"/>
                </a:solidFill>
                <a:effectLst/>
                <a:uLnTx/>
                <a:uFillTx/>
                <a:latin typeface="Avenir Next LT Pro" panose="020B05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1E3C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3" name="Title 13">
            <a:extLst>
              <a:ext uri="{FF2B5EF4-FFF2-40B4-BE49-F238E27FC236}">
                <a16:creationId xmlns:a16="http://schemas.microsoft.com/office/drawing/2014/main" id="{A7361FBB-0540-8BCE-21A9-E59B1DB509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891" y="346167"/>
            <a:ext cx="11556218" cy="70214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B145C9B-177B-F987-B685-07929ECDD518}"/>
              </a:ext>
            </a:extLst>
          </p:cNvPr>
          <p:cNvGrpSpPr/>
          <p:nvPr userDrawn="1"/>
        </p:nvGrpSpPr>
        <p:grpSpPr>
          <a:xfrm>
            <a:off x="289932" y="6281977"/>
            <a:ext cx="11584177" cy="129643"/>
            <a:chOff x="-20516" y="2052871"/>
            <a:chExt cx="17746191" cy="198605"/>
          </a:xfrm>
        </p:grpSpPr>
        <p:sp>
          <p:nvSpPr>
            <p:cNvPr id="6" name="AutoShape 24">
              <a:extLst>
                <a:ext uri="{FF2B5EF4-FFF2-40B4-BE49-F238E27FC236}">
                  <a16:creationId xmlns:a16="http://schemas.microsoft.com/office/drawing/2014/main" id="{EF51E8A0-E97C-D4C7-78B6-74F6D0B61674}"/>
                </a:ext>
              </a:extLst>
            </p:cNvPr>
            <p:cNvSpPr/>
            <p:nvPr/>
          </p:nvSpPr>
          <p:spPr>
            <a:xfrm flipV="1">
              <a:off x="1032935" y="2052871"/>
              <a:ext cx="16692740" cy="0"/>
            </a:xfrm>
            <a:prstGeom prst="line">
              <a:avLst/>
            </a:prstGeom>
            <a:ln w="28575" cap="flat">
              <a:solidFill>
                <a:schemeClr val="tx1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ZA">
                <a:solidFill>
                  <a:srgbClr val="1D428A"/>
                </a:solidFill>
              </a:endParaRPr>
            </a:p>
          </p:txBody>
        </p:sp>
        <p:sp>
          <p:nvSpPr>
            <p:cNvPr id="7" name="AutoShape 24">
              <a:extLst>
                <a:ext uri="{FF2B5EF4-FFF2-40B4-BE49-F238E27FC236}">
                  <a16:creationId xmlns:a16="http://schemas.microsoft.com/office/drawing/2014/main" id="{42557960-7C97-BBDE-948F-0570A148F2D8}"/>
                </a:ext>
              </a:extLst>
            </p:cNvPr>
            <p:cNvSpPr/>
            <p:nvPr/>
          </p:nvSpPr>
          <p:spPr>
            <a:xfrm flipV="1">
              <a:off x="-20516" y="2052877"/>
              <a:ext cx="927307" cy="0"/>
            </a:xfrm>
            <a:prstGeom prst="line">
              <a:avLst/>
            </a:prstGeom>
            <a:ln w="28575" cap="flat">
              <a:solidFill>
                <a:schemeClr val="tx1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ZA">
                <a:solidFill>
                  <a:srgbClr val="1D428A"/>
                </a:solidFill>
              </a:endParaRPr>
            </a:p>
          </p:txBody>
        </p:sp>
        <p:sp>
          <p:nvSpPr>
            <p:cNvPr id="8" name="AutoShape 24">
              <a:extLst>
                <a:ext uri="{FF2B5EF4-FFF2-40B4-BE49-F238E27FC236}">
                  <a16:creationId xmlns:a16="http://schemas.microsoft.com/office/drawing/2014/main" id="{869CDC40-15E2-6AB1-4E12-18DDF87AFA74}"/>
                </a:ext>
              </a:extLst>
            </p:cNvPr>
            <p:cNvSpPr/>
            <p:nvPr/>
          </p:nvSpPr>
          <p:spPr>
            <a:xfrm flipH="1" flipV="1">
              <a:off x="968334" y="2131093"/>
              <a:ext cx="0" cy="120383"/>
            </a:xfrm>
            <a:prstGeom prst="line">
              <a:avLst/>
            </a:prstGeom>
            <a:ln w="28575" cap="flat">
              <a:solidFill>
                <a:schemeClr val="tx1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ZA">
                <a:solidFill>
                  <a:srgbClr val="1D428A"/>
                </a:solidFill>
              </a:endParaRPr>
            </a:p>
          </p:txBody>
        </p:sp>
      </p:grp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2803DCCA-E54F-DBE6-F367-697EDB9EEB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7889" y="1050288"/>
            <a:ext cx="11556218" cy="3051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tabLst>
                <a:tab pos="1435100" algn="l"/>
              </a:tabLst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subheading tex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4D0E2E-0505-689A-E76A-E9A5BBFF0A36}"/>
              </a:ext>
            </a:extLst>
          </p:cNvPr>
          <p:cNvSpPr txBox="1"/>
          <p:nvPr userDrawn="1"/>
        </p:nvSpPr>
        <p:spPr>
          <a:xfrm>
            <a:off x="3047114" y="6611779"/>
            <a:ext cx="609777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AU" sz="1000">
                <a:solidFill>
                  <a:schemeClr val="bg1">
                    <a:lumMod val="50000"/>
                  </a:schemeClr>
                </a:solidFill>
              </a:rPr>
              <a:t>CONFIDENTIAL MATERIAL – DO NOT DISTRIBUTE </a:t>
            </a:r>
          </a:p>
        </p:txBody>
      </p:sp>
    </p:spTree>
    <p:extLst>
      <p:ext uri="{BB962C8B-B14F-4D97-AF65-F5344CB8AC3E}">
        <p14:creationId xmlns:p14="http://schemas.microsoft.com/office/powerpoint/2010/main" val="1111743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pli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D1C7D347-29AD-0F28-CFC1-9ACB07DD0A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03870" y="0"/>
            <a:ext cx="6088130" cy="6858000"/>
          </a:xfrm>
          <a:prstGeom prst="rect">
            <a:avLst/>
          </a:prstGeom>
          <a:pattFill prst="pct20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ZA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5D1A88F-61A0-231F-8430-DA7CF8E3CE00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rgbClr val="1D428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chemeClr val="bg1"/>
              </a:solidFill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1FD76B72-4720-0ABD-1A93-DD27F4DE28EB}"/>
              </a:ext>
            </a:extLst>
          </p:cNvPr>
          <p:cNvSpPr txBox="1">
            <a:spLocks/>
          </p:cNvSpPr>
          <p:nvPr userDrawn="1"/>
        </p:nvSpPr>
        <p:spPr>
          <a:xfrm>
            <a:off x="10925833" y="6419828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1E3C"/>
                </a:solidFill>
                <a:effectLst/>
                <a:uLnTx/>
                <a:uFillTx/>
                <a:latin typeface="Avenir Next LT Pro" panose="020B05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1E3C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7623BD8-56FB-11F9-4991-BBFAA39A65FF}"/>
              </a:ext>
            </a:extLst>
          </p:cNvPr>
          <p:cNvGrpSpPr/>
          <p:nvPr userDrawn="1"/>
        </p:nvGrpSpPr>
        <p:grpSpPr>
          <a:xfrm>
            <a:off x="289932" y="6281977"/>
            <a:ext cx="5523639" cy="266800"/>
            <a:chOff x="289932" y="6281977"/>
            <a:chExt cx="5523639" cy="266800"/>
          </a:xfrm>
          <a:solidFill>
            <a:schemeClr val="bg1"/>
          </a:solidFill>
        </p:grpSpPr>
        <p:grpSp>
          <p:nvGrpSpPr>
            <p:cNvPr id="15" name="Graphic 25">
              <a:extLst>
                <a:ext uri="{FF2B5EF4-FFF2-40B4-BE49-F238E27FC236}">
                  <a16:creationId xmlns:a16="http://schemas.microsoft.com/office/drawing/2014/main" id="{2344EBB8-3B14-5CEE-E3B0-6361146A7313}"/>
                </a:ext>
              </a:extLst>
            </p:cNvPr>
            <p:cNvGrpSpPr/>
            <p:nvPr/>
          </p:nvGrpSpPr>
          <p:grpSpPr>
            <a:xfrm>
              <a:off x="641802" y="6483229"/>
              <a:ext cx="588657" cy="65548"/>
              <a:chOff x="1552708" y="6590654"/>
              <a:chExt cx="588657" cy="65548"/>
            </a:xfrm>
            <a:grpFill/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54A2F3DA-5931-098B-8A08-F53F7EB61CF7}"/>
                  </a:ext>
                </a:extLst>
              </p:cNvPr>
              <p:cNvSpPr/>
              <p:nvPr/>
            </p:nvSpPr>
            <p:spPr>
              <a:xfrm>
                <a:off x="1552708" y="6591721"/>
                <a:ext cx="52512" cy="63379"/>
              </a:xfrm>
              <a:custGeom>
                <a:avLst/>
                <a:gdLst>
                  <a:gd name="connsiteX0" fmla="*/ 33231 w 52512"/>
                  <a:gd name="connsiteY0" fmla="*/ 12858 h 63379"/>
                  <a:gd name="connsiteX1" fmla="*/ 33231 w 52512"/>
                  <a:gd name="connsiteY1" fmla="*/ 63380 h 63379"/>
                  <a:gd name="connsiteX2" fmla="*/ 19282 w 52512"/>
                  <a:gd name="connsiteY2" fmla="*/ 63380 h 63379"/>
                  <a:gd name="connsiteX3" fmla="*/ 19282 w 52512"/>
                  <a:gd name="connsiteY3" fmla="*/ 12858 h 63379"/>
                  <a:gd name="connsiteX4" fmla="*/ 0 w 52512"/>
                  <a:gd name="connsiteY4" fmla="*/ 12858 h 63379"/>
                  <a:gd name="connsiteX5" fmla="*/ 0 w 52512"/>
                  <a:gd name="connsiteY5" fmla="*/ 0 h 63379"/>
                  <a:gd name="connsiteX6" fmla="*/ 52512 w 52512"/>
                  <a:gd name="connsiteY6" fmla="*/ 0 h 63379"/>
                  <a:gd name="connsiteX7" fmla="*/ 52512 w 52512"/>
                  <a:gd name="connsiteY7" fmla="*/ 12858 h 63379"/>
                  <a:gd name="connsiteX8" fmla="*/ 33231 w 52512"/>
                  <a:gd name="connsiteY8" fmla="*/ 12858 h 63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512" h="63379">
                    <a:moveTo>
                      <a:pt x="33231" y="12858"/>
                    </a:moveTo>
                    <a:lnTo>
                      <a:pt x="33231" y="63380"/>
                    </a:lnTo>
                    <a:lnTo>
                      <a:pt x="19282" y="63380"/>
                    </a:lnTo>
                    <a:lnTo>
                      <a:pt x="19282" y="12858"/>
                    </a:lnTo>
                    <a:lnTo>
                      <a:pt x="0" y="12858"/>
                    </a:lnTo>
                    <a:lnTo>
                      <a:pt x="0" y="0"/>
                    </a:lnTo>
                    <a:lnTo>
                      <a:pt x="52512" y="0"/>
                    </a:lnTo>
                    <a:lnTo>
                      <a:pt x="52512" y="12858"/>
                    </a:lnTo>
                    <a:lnTo>
                      <a:pt x="33231" y="12858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2DF2FEC6-0BB6-23E6-A7EF-D56C3B586D2A}"/>
                  </a:ext>
                </a:extLst>
              </p:cNvPr>
              <p:cNvSpPr/>
              <p:nvPr/>
            </p:nvSpPr>
            <p:spPr>
              <a:xfrm>
                <a:off x="1613113" y="6590654"/>
                <a:ext cx="67361" cy="65548"/>
              </a:xfrm>
              <a:custGeom>
                <a:avLst/>
                <a:gdLst>
                  <a:gd name="connsiteX0" fmla="*/ 64826 w 67361"/>
                  <a:gd name="connsiteY0" fmla="*/ 45485 h 65548"/>
                  <a:gd name="connsiteX1" fmla="*/ 57810 w 67361"/>
                  <a:gd name="connsiteY1" fmla="*/ 55902 h 65548"/>
                  <a:gd name="connsiteX2" fmla="*/ 47120 w 67361"/>
                  <a:gd name="connsiteY2" fmla="*/ 62965 h 65548"/>
                  <a:gd name="connsiteX3" fmla="*/ 33586 w 67361"/>
                  <a:gd name="connsiteY3" fmla="*/ 65548 h 65548"/>
                  <a:gd name="connsiteX4" fmla="*/ 20100 w 67361"/>
                  <a:gd name="connsiteY4" fmla="*/ 62965 h 65548"/>
                  <a:gd name="connsiteX5" fmla="*/ 9457 w 67361"/>
                  <a:gd name="connsiteY5" fmla="*/ 55996 h 65548"/>
                  <a:gd name="connsiteX6" fmla="*/ 2489 w 67361"/>
                  <a:gd name="connsiteY6" fmla="*/ 45674 h 65548"/>
                  <a:gd name="connsiteX7" fmla="*/ 0 w 67361"/>
                  <a:gd name="connsiteY7" fmla="*/ 32958 h 65548"/>
                  <a:gd name="connsiteX8" fmla="*/ 0 w 67361"/>
                  <a:gd name="connsiteY8" fmla="*/ 32780 h 65548"/>
                  <a:gd name="connsiteX9" fmla="*/ 2536 w 67361"/>
                  <a:gd name="connsiteY9" fmla="*/ 20064 h 65548"/>
                  <a:gd name="connsiteX10" fmla="*/ 9552 w 67361"/>
                  <a:gd name="connsiteY10" fmla="*/ 9647 h 65548"/>
                  <a:gd name="connsiteX11" fmla="*/ 20242 w 67361"/>
                  <a:gd name="connsiteY11" fmla="*/ 2584 h 65548"/>
                  <a:gd name="connsiteX12" fmla="*/ 33776 w 67361"/>
                  <a:gd name="connsiteY12" fmla="*/ 0 h 65548"/>
                  <a:gd name="connsiteX13" fmla="*/ 47262 w 67361"/>
                  <a:gd name="connsiteY13" fmla="*/ 2584 h 65548"/>
                  <a:gd name="connsiteX14" fmla="*/ 57905 w 67361"/>
                  <a:gd name="connsiteY14" fmla="*/ 9552 h 65548"/>
                  <a:gd name="connsiteX15" fmla="*/ 64873 w 67361"/>
                  <a:gd name="connsiteY15" fmla="*/ 19874 h 65548"/>
                  <a:gd name="connsiteX16" fmla="*/ 67362 w 67361"/>
                  <a:gd name="connsiteY16" fmla="*/ 32591 h 65548"/>
                  <a:gd name="connsiteX17" fmla="*/ 67362 w 67361"/>
                  <a:gd name="connsiteY17" fmla="*/ 32768 h 65548"/>
                  <a:gd name="connsiteX18" fmla="*/ 64826 w 67361"/>
                  <a:gd name="connsiteY18" fmla="*/ 45496 h 65548"/>
                  <a:gd name="connsiteX19" fmla="*/ 52785 w 67361"/>
                  <a:gd name="connsiteY19" fmla="*/ 32756 h 65548"/>
                  <a:gd name="connsiteX20" fmla="*/ 51387 w 67361"/>
                  <a:gd name="connsiteY20" fmla="*/ 25065 h 65548"/>
                  <a:gd name="connsiteX21" fmla="*/ 47405 w 67361"/>
                  <a:gd name="connsiteY21" fmla="*/ 18725 h 65548"/>
                  <a:gd name="connsiteX22" fmla="*/ 41289 w 67361"/>
                  <a:gd name="connsiteY22" fmla="*/ 14423 h 65548"/>
                  <a:gd name="connsiteX23" fmla="*/ 33598 w 67361"/>
                  <a:gd name="connsiteY23" fmla="*/ 12835 h 65548"/>
                  <a:gd name="connsiteX24" fmla="*/ 25859 w 67361"/>
                  <a:gd name="connsiteY24" fmla="*/ 14375 h 65548"/>
                  <a:gd name="connsiteX25" fmla="*/ 19886 w 67361"/>
                  <a:gd name="connsiteY25" fmla="*/ 18630 h 65548"/>
                  <a:gd name="connsiteX26" fmla="*/ 15987 w 67361"/>
                  <a:gd name="connsiteY26" fmla="*/ 24923 h 65548"/>
                  <a:gd name="connsiteX27" fmla="*/ 14589 w 67361"/>
                  <a:gd name="connsiteY27" fmla="*/ 32579 h 65548"/>
                  <a:gd name="connsiteX28" fmla="*/ 14589 w 67361"/>
                  <a:gd name="connsiteY28" fmla="*/ 32756 h 65548"/>
                  <a:gd name="connsiteX29" fmla="*/ 15987 w 67361"/>
                  <a:gd name="connsiteY29" fmla="*/ 40448 h 65548"/>
                  <a:gd name="connsiteX30" fmla="*/ 19969 w 67361"/>
                  <a:gd name="connsiteY30" fmla="*/ 46788 h 65548"/>
                  <a:gd name="connsiteX31" fmla="*/ 26037 w 67361"/>
                  <a:gd name="connsiteY31" fmla="*/ 51090 h 65548"/>
                  <a:gd name="connsiteX32" fmla="*/ 33776 w 67361"/>
                  <a:gd name="connsiteY32" fmla="*/ 52678 h 65548"/>
                  <a:gd name="connsiteX33" fmla="*/ 41467 w 67361"/>
                  <a:gd name="connsiteY33" fmla="*/ 51138 h 65548"/>
                  <a:gd name="connsiteX34" fmla="*/ 47487 w 67361"/>
                  <a:gd name="connsiteY34" fmla="*/ 46883 h 65548"/>
                  <a:gd name="connsiteX35" fmla="*/ 51387 w 67361"/>
                  <a:gd name="connsiteY35" fmla="*/ 40590 h 65548"/>
                  <a:gd name="connsiteX36" fmla="*/ 52785 w 67361"/>
                  <a:gd name="connsiteY36" fmla="*/ 32934 h 65548"/>
                  <a:gd name="connsiteX37" fmla="*/ 52785 w 67361"/>
                  <a:gd name="connsiteY37" fmla="*/ 32756 h 65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7361" h="65548">
                    <a:moveTo>
                      <a:pt x="64826" y="45485"/>
                    </a:moveTo>
                    <a:cubicBezTo>
                      <a:pt x="63131" y="49443"/>
                      <a:pt x="60796" y="52903"/>
                      <a:pt x="57810" y="55902"/>
                    </a:cubicBezTo>
                    <a:cubicBezTo>
                      <a:pt x="54823" y="58900"/>
                      <a:pt x="51256" y="61247"/>
                      <a:pt x="47120" y="62965"/>
                    </a:cubicBezTo>
                    <a:cubicBezTo>
                      <a:pt x="42984" y="64683"/>
                      <a:pt x="38469" y="65548"/>
                      <a:pt x="33586" y="65548"/>
                    </a:cubicBezTo>
                    <a:cubicBezTo>
                      <a:pt x="28703" y="65548"/>
                      <a:pt x="24200" y="64683"/>
                      <a:pt x="20100" y="62965"/>
                    </a:cubicBezTo>
                    <a:cubicBezTo>
                      <a:pt x="15999" y="61247"/>
                      <a:pt x="12444" y="58924"/>
                      <a:pt x="9457" y="55996"/>
                    </a:cubicBezTo>
                    <a:cubicBezTo>
                      <a:pt x="6471" y="53069"/>
                      <a:pt x="4148" y="49632"/>
                      <a:pt x="2489" y="45674"/>
                    </a:cubicBezTo>
                    <a:cubicBezTo>
                      <a:pt x="830" y="41716"/>
                      <a:pt x="0" y="37485"/>
                      <a:pt x="0" y="32958"/>
                    </a:cubicBezTo>
                    <a:lnTo>
                      <a:pt x="0" y="32780"/>
                    </a:lnTo>
                    <a:cubicBezTo>
                      <a:pt x="0" y="28253"/>
                      <a:pt x="841" y="24010"/>
                      <a:pt x="2536" y="20064"/>
                    </a:cubicBezTo>
                    <a:cubicBezTo>
                      <a:pt x="4231" y="16118"/>
                      <a:pt x="6566" y="12645"/>
                      <a:pt x="9552" y="9647"/>
                    </a:cubicBezTo>
                    <a:cubicBezTo>
                      <a:pt x="12539" y="6660"/>
                      <a:pt x="16106" y="4302"/>
                      <a:pt x="20242" y="2584"/>
                    </a:cubicBezTo>
                    <a:cubicBezTo>
                      <a:pt x="24378" y="865"/>
                      <a:pt x="28893" y="0"/>
                      <a:pt x="33776" y="0"/>
                    </a:cubicBezTo>
                    <a:cubicBezTo>
                      <a:pt x="38658" y="0"/>
                      <a:pt x="43162" y="865"/>
                      <a:pt x="47262" y="2584"/>
                    </a:cubicBezTo>
                    <a:cubicBezTo>
                      <a:pt x="51363" y="4302"/>
                      <a:pt x="54918" y="6625"/>
                      <a:pt x="57905" y="9552"/>
                    </a:cubicBezTo>
                    <a:cubicBezTo>
                      <a:pt x="60891" y="12479"/>
                      <a:pt x="63214" y="15916"/>
                      <a:pt x="64873" y="19874"/>
                    </a:cubicBezTo>
                    <a:cubicBezTo>
                      <a:pt x="66532" y="23833"/>
                      <a:pt x="67362" y="28063"/>
                      <a:pt x="67362" y="32591"/>
                    </a:cubicBezTo>
                    <a:lnTo>
                      <a:pt x="67362" y="32768"/>
                    </a:lnTo>
                    <a:cubicBezTo>
                      <a:pt x="67362" y="37295"/>
                      <a:pt x="66520" y="41538"/>
                      <a:pt x="64826" y="45496"/>
                    </a:cubicBezTo>
                    <a:close/>
                    <a:moveTo>
                      <a:pt x="52785" y="32756"/>
                    </a:moveTo>
                    <a:cubicBezTo>
                      <a:pt x="52785" y="30043"/>
                      <a:pt x="52323" y="27471"/>
                      <a:pt x="51387" y="25065"/>
                    </a:cubicBezTo>
                    <a:cubicBezTo>
                      <a:pt x="50450" y="22647"/>
                      <a:pt x="49123" y="20538"/>
                      <a:pt x="47405" y="18725"/>
                    </a:cubicBezTo>
                    <a:cubicBezTo>
                      <a:pt x="45686" y="16912"/>
                      <a:pt x="43648" y="15478"/>
                      <a:pt x="41289" y="14423"/>
                    </a:cubicBezTo>
                    <a:cubicBezTo>
                      <a:pt x="38931" y="13368"/>
                      <a:pt x="36371" y="12835"/>
                      <a:pt x="33598" y="12835"/>
                    </a:cubicBezTo>
                    <a:cubicBezTo>
                      <a:pt x="30825" y="12835"/>
                      <a:pt x="28182" y="13344"/>
                      <a:pt x="25859" y="14375"/>
                    </a:cubicBezTo>
                    <a:cubicBezTo>
                      <a:pt x="23536" y="15406"/>
                      <a:pt x="21545" y="16817"/>
                      <a:pt x="19886" y="18630"/>
                    </a:cubicBezTo>
                    <a:cubicBezTo>
                      <a:pt x="18227" y="20443"/>
                      <a:pt x="16923" y="22541"/>
                      <a:pt x="15987" y="24923"/>
                    </a:cubicBezTo>
                    <a:cubicBezTo>
                      <a:pt x="15051" y="27305"/>
                      <a:pt x="14589" y="29853"/>
                      <a:pt x="14589" y="32579"/>
                    </a:cubicBezTo>
                    <a:lnTo>
                      <a:pt x="14589" y="32756"/>
                    </a:lnTo>
                    <a:cubicBezTo>
                      <a:pt x="14589" y="35470"/>
                      <a:pt x="15051" y="38042"/>
                      <a:pt x="15987" y="40448"/>
                    </a:cubicBezTo>
                    <a:cubicBezTo>
                      <a:pt x="16923" y="42865"/>
                      <a:pt x="18251" y="44975"/>
                      <a:pt x="19969" y="46788"/>
                    </a:cubicBezTo>
                    <a:cubicBezTo>
                      <a:pt x="21688" y="48601"/>
                      <a:pt x="23714" y="50035"/>
                      <a:pt x="26037" y="51090"/>
                    </a:cubicBezTo>
                    <a:cubicBezTo>
                      <a:pt x="28360" y="52145"/>
                      <a:pt x="30943" y="52678"/>
                      <a:pt x="33776" y="52678"/>
                    </a:cubicBezTo>
                    <a:cubicBezTo>
                      <a:pt x="36608" y="52678"/>
                      <a:pt x="39121" y="52169"/>
                      <a:pt x="41467" y="51138"/>
                    </a:cubicBezTo>
                    <a:cubicBezTo>
                      <a:pt x="43825" y="50106"/>
                      <a:pt x="45828" y="48696"/>
                      <a:pt x="47487" y="46883"/>
                    </a:cubicBezTo>
                    <a:cubicBezTo>
                      <a:pt x="49147" y="45070"/>
                      <a:pt x="50450" y="42972"/>
                      <a:pt x="51387" y="40590"/>
                    </a:cubicBezTo>
                    <a:cubicBezTo>
                      <a:pt x="52323" y="38208"/>
                      <a:pt x="52785" y="35660"/>
                      <a:pt x="52785" y="32934"/>
                    </a:cubicBezTo>
                    <a:lnTo>
                      <a:pt x="52785" y="32756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78E4683A-D662-4290-D908-79855495886A}"/>
                  </a:ext>
                </a:extLst>
              </p:cNvPr>
              <p:cNvSpPr/>
              <p:nvPr/>
            </p:nvSpPr>
            <p:spPr>
              <a:xfrm>
                <a:off x="1692871" y="6591709"/>
                <a:ext cx="63379" cy="63391"/>
              </a:xfrm>
              <a:custGeom>
                <a:avLst/>
                <a:gdLst>
                  <a:gd name="connsiteX0" fmla="*/ 49621 w 63379"/>
                  <a:gd name="connsiteY0" fmla="*/ 63392 h 63391"/>
                  <a:gd name="connsiteX1" fmla="*/ 49621 w 63379"/>
                  <a:gd name="connsiteY1" fmla="*/ 22008 h 63391"/>
                  <a:gd name="connsiteX2" fmla="*/ 31785 w 63379"/>
                  <a:gd name="connsiteY2" fmla="*/ 49075 h 63391"/>
                  <a:gd name="connsiteX3" fmla="*/ 31417 w 63379"/>
                  <a:gd name="connsiteY3" fmla="*/ 49075 h 63391"/>
                  <a:gd name="connsiteX4" fmla="*/ 13759 w 63379"/>
                  <a:gd name="connsiteY4" fmla="*/ 22268 h 63391"/>
                  <a:gd name="connsiteX5" fmla="*/ 13759 w 63379"/>
                  <a:gd name="connsiteY5" fmla="*/ 63380 h 63391"/>
                  <a:gd name="connsiteX6" fmla="*/ 0 w 63379"/>
                  <a:gd name="connsiteY6" fmla="*/ 63380 h 63391"/>
                  <a:gd name="connsiteX7" fmla="*/ 0 w 63379"/>
                  <a:gd name="connsiteY7" fmla="*/ 0 h 63391"/>
                  <a:gd name="connsiteX8" fmla="*/ 15027 w 63379"/>
                  <a:gd name="connsiteY8" fmla="*/ 0 h 63391"/>
                  <a:gd name="connsiteX9" fmla="*/ 31690 w 63379"/>
                  <a:gd name="connsiteY9" fmla="*/ 26807 h 63391"/>
                  <a:gd name="connsiteX10" fmla="*/ 48353 w 63379"/>
                  <a:gd name="connsiteY10" fmla="*/ 0 h 63391"/>
                  <a:gd name="connsiteX11" fmla="*/ 63380 w 63379"/>
                  <a:gd name="connsiteY11" fmla="*/ 0 h 63391"/>
                  <a:gd name="connsiteX12" fmla="*/ 63380 w 63379"/>
                  <a:gd name="connsiteY12" fmla="*/ 63380 h 63391"/>
                  <a:gd name="connsiteX13" fmla="*/ 49621 w 63379"/>
                  <a:gd name="connsiteY13" fmla="*/ 63380 h 63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3379" h="63391">
                    <a:moveTo>
                      <a:pt x="49621" y="63392"/>
                    </a:moveTo>
                    <a:lnTo>
                      <a:pt x="49621" y="22008"/>
                    </a:lnTo>
                    <a:lnTo>
                      <a:pt x="31785" y="49075"/>
                    </a:lnTo>
                    <a:lnTo>
                      <a:pt x="31417" y="49075"/>
                    </a:lnTo>
                    <a:lnTo>
                      <a:pt x="13759" y="22268"/>
                    </a:lnTo>
                    <a:lnTo>
                      <a:pt x="13759" y="63380"/>
                    </a:lnTo>
                    <a:lnTo>
                      <a:pt x="0" y="63380"/>
                    </a:lnTo>
                    <a:lnTo>
                      <a:pt x="0" y="0"/>
                    </a:lnTo>
                    <a:lnTo>
                      <a:pt x="15027" y="0"/>
                    </a:lnTo>
                    <a:lnTo>
                      <a:pt x="31690" y="26807"/>
                    </a:lnTo>
                    <a:lnTo>
                      <a:pt x="48353" y="0"/>
                    </a:lnTo>
                    <a:lnTo>
                      <a:pt x="63380" y="0"/>
                    </a:lnTo>
                    <a:lnTo>
                      <a:pt x="63380" y="63380"/>
                    </a:lnTo>
                    <a:lnTo>
                      <a:pt x="49621" y="63380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A1F9616A-3A89-2687-5759-2F8EE7D8381E}"/>
                  </a:ext>
                </a:extLst>
              </p:cNvPr>
              <p:cNvSpPr/>
              <p:nvPr/>
            </p:nvSpPr>
            <p:spPr>
              <a:xfrm>
                <a:off x="1768671" y="6590654"/>
                <a:ext cx="67361" cy="65548"/>
              </a:xfrm>
              <a:custGeom>
                <a:avLst/>
                <a:gdLst>
                  <a:gd name="connsiteX0" fmla="*/ 64826 w 67361"/>
                  <a:gd name="connsiteY0" fmla="*/ 45485 h 65548"/>
                  <a:gd name="connsiteX1" fmla="*/ 57810 w 67361"/>
                  <a:gd name="connsiteY1" fmla="*/ 55902 h 65548"/>
                  <a:gd name="connsiteX2" fmla="*/ 47120 w 67361"/>
                  <a:gd name="connsiteY2" fmla="*/ 62965 h 65548"/>
                  <a:gd name="connsiteX3" fmla="*/ 33586 w 67361"/>
                  <a:gd name="connsiteY3" fmla="*/ 65548 h 65548"/>
                  <a:gd name="connsiteX4" fmla="*/ 20100 w 67361"/>
                  <a:gd name="connsiteY4" fmla="*/ 62965 h 65548"/>
                  <a:gd name="connsiteX5" fmla="*/ 9457 w 67361"/>
                  <a:gd name="connsiteY5" fmla="*/ 55996 h 65548"/>
                  <a:gd name="connsiteX6" fmla="*/ 2489 w 67361"/>
                  <a:gd name="connsiteY6" fmla="*/ 45674 h 65548"/>
                  <a:gd name="connsiteX7" fmla="*/ 0 w 67361"/>
                  <a:gd name="connsiteY7" fmla="*/ 32958 h 65548"/>
                  <a:gd name="connsiteX8" fmla="*/ 0 w 67361"/>
                  <a:gd name="connsiteY8" fmla="*/ 32780 h 65548"/>
                  <a:gd name="connsiteX9" fmla="*/ 2536 w 67361"/>
                  <a:gd name="connsiteY9" fmla="*/ 20064 h 65548"/>
                  <a:gd name="connsiteX10" fmla="*/ 9552 w 67361"/>
                  <a:gd name="connsiteY10" fmla="*/ 9647 h 65548"/>
                  <a:gd name="connsiteX11" fmla="*/ 20242 w 67361"/>
                  <a:gd name="connsiteY11" fmla="*/ 2584 h 65548"/>
                  <a:gd name="connsiteX12" fmla="*/ 33776 w 67361"/>
                  <a:gd name="connsiteY12" fmla="*/ 0 h 65548"/>
                  <a:gd name="connsiteX13" fmla="*/ 47262 w 67361"/>
                  <a:gd name="connsiteY13" fmla="*/ 2584 h 65548"/>
                  <a:gd name="connsiteX14" fmla="*/ 57905 w 67361"/>
                  <a:gd name="connsiteY14" fmla="*/ 9552 h 65548"/>
                  <a:gd name="connsiteX15" fmla="*/ 64873 w 67361"/>
                  <a:gd name="connsiteY15" fmla="*/ 19874 h 65548"/>
                  <a:gd name="connsiteX16" fmla="*/ 67362 w 67361"/>
                  <a:gd name="connsiteY16" fmla="*/ 32591 h 65548"/>
                  <a:gd name="connsiteX17" fmla="*/ 67362 w 67361"/>
                  <a:gd name="connsiteY17" fmla="*/ 32768 h 65548"/>
                  <a:gd name="connsiteX18" fmla="*/ 64826 w 67361"/>
                  <a:gd name="connsiteY18" fmla="*/ 45496 h 65548"/>
                  <a:gd name="connsiteX19" fmla="*/ 52785 w 67361"/>
                  <a:gd name="connsiteY19" fmla="*/ 32756 h 65548"/>
                  <a:gd name="connsiteX20" fmla="*/ 51387 w 67361"/>
                  <a:gd name="connsiteY20" fmla="*/ 25065 h 65548"/>
                  <a:gd name="connsiteX21" fmla="*/ 47405 w 67361"/>
                  <a:gd name="connsiteY21" fmla="*/ 18725 h 65548"/>
                  <a:gd name="connsiteX22" fmla="*/ 41289 w 67361"/>
                  <a:gd name="connsiteY22" fmla="*/ 14423 h 65548"/>
                  <a:gd name="connsiteX23" fmla="*/ 33598 w 67361"/>
                  <a:gd name="connsiteY23" fmla="*/ 12835 h 65548"/>
                  <a:gd name="connsiteX24" fmla="*/ 25859 w 67361"/>
                  <a:gd name="connsiteY24" fmla="*/ 14375 h 65548"/>
                  <a:gd name="connsiteX25" fmla="*/ 19886 w 67361"/>
                  <a:gd name="connsiteY25" fmla="*/ 18630 h 65548"/>
                  <a:gd name="connsiteX26" fmla="*/ 15987 w 67361"/>
                  <a:gd name="connsiteY26" fmla="*/ 24923 h 65548"/>
                  <a:gd name="connsiteX27" fmla="*/ 14589 w 67361"/>
                  <a:gd name="connsiteY27" fmla="*/ 32579 h 65548"/>
                  <a:gd name="connsiteX28" fmla="*/ 14589 w 67361"/>
                  <a:gd name="connsiteY28" fmla="*/ 32756 h 65548"/>
                  <a:gd name="connsiteX29" fmla="*/ 15987 w 67361"/>
                  <a:gd name="connsiteY29" fmla="*/ 40448 h 65548"/>
                  <a:gd name="connsiteX30" fmla="*/ 19969 w 67361"/>
                  <a:gd name="connsiteY30" fmla="*/ 46788 h 65548"/>
                  <a:gd name="connsiteX31" fmla="*/ 26037 w 67361"/>
                  <a:gd name="connsiteY31" fmla="*/ 51090 h 65548"/>
                  <a:gd name="connsiteX32" fmla="*/ 33776 w 67361"/>
                  <a:gd name="connsiteY32" fmla="*/ 52678 h 65548"/>
                  <a:gd name="connsiteX33" fmla="*/ 41467 w 67361"/>
                  <a:gd name="connsiteY33" fmla="*/ 51138 h 65548"/>
                  <a:gd name="connsiteX34" fmla="*/ 47488 w 67361"/>
                  <a:gd name="connsiteY34" fmla="*/ 46883 h 65548"/>
                  <a:gd name="connsiteX35" fmla="*/ 51387 w 67361"/>
                  <a:gd name="connsiteY35" fmla="*/ 40590 h 65548"/>
                  <a:gd name="connsiteX36" fmla="*/ 52785 w 67361"/>
                  <a:gd name="connsiteY36" fmla="*/ 32934 h 65548"/>
                  <a:gd name="connsiteX37" fmla="*/ 52785 w 67361"/>
                  <a:gd name="connsiteY37" fmla="*/ 32756 h 65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7361" h="65548">
                    <a:moveTo>
                      <a:pt x="64826" y="45485"/>
                    </a:moveTo>
                    <a:cubicBezTo>
                      <a:pt x="63131" y="49443"/>
                      <a:pt x="60796" y="52903"/>
                      <a:pt x="57810" y="55902"/>
                    </a:cubicBezTo>
                    <a:cubicBezTo>
                      <a:pt x="54823" y="58900"/>
                      <a:pt x="51256" y="61247"/>
                      <a:pt x="47120" y="62965"/>
                    </a:cubicBezTo>
                    <a:cubicBezTo>
                      <a:pt x="42984" y="64683"/>
                      <a:pt x="38469" y="65548"/>
                      <a:pt x="33586" y="65548"/>
                    </a:cubicBezTo>
                    <a:cubicBezTo>
                      <a:pt x="28703" y="65548"/>
                      <a:pt x="24200" y="64683"/>
                      <a:pt x="20100" y="62965"/>
                    </a:cubicBezTo>
                    <a:cubicBezTo>
                      <a:pt x="15999" y="61247"/>
                      <a:pt x="12444" y="58924"/>
                      <a:pt x="9457" y="55996"/>
                    </a:cubicBezTo>
                    <a:cubicBezTo>
                      <a:pt x="6471" y="53069"/>
                      <a:pt x="4148" y="49632"/>
                      <a:pt x="2489" y="45674"/>
                    </a:cubicBezTo>
                    <a:cubicBezTo>
                      <a:pt x="830" y="41716"/>
                      <a:pt x="0" y="37485"/>
                      <a:pt x="0" y="32958"/>
                    </a:cubicBezTo>
                    <a:lnTo>
                      <a:pt x="0" y="32780"/>
                    </a:lnTo>
                    <a:cubicBezTo>
                      <a:pt x="0" y="28253"/>
                      <a:pt x="841" y="24010"/>
                      <a:pt x="2536" y="20064"/>
                    </a:cubicBezTo>
                    <a:cubicBezTo>
                      <a:pt x="4231" y="16118"/>
                      <a:pt x="6566" y="12645"/>
                      <a:pt x="9552" y="9647"/>
                    </a:cubicBezTo>
                    <a:cubicBezTo>
                      <a:pt x="12539" y="6660"/>
                      <a:pt x="16106" y="4302"/>
                      <a:pt x="20242" y="2584"/>
                    </a:cubicBezTo>
                    <a:cubicBezTo>
                      <a:pt x="24378" y="865"/>
                      <a:pt x="28893" y="0"/>
                      <a:pt x="33776" y="0"/>
                    </a:cubicBezTo>
                    <a:cubicBezTo>
                      <a:pt x="38658" y="0"/>
                      <a:pt x="43162" y="865"/>
                      <a:pt x="47262" y="2584"/>
                    </a:cubicBezTo>
                    <a:cubicBezTo>
                      <a:pt x="51363" y="4302"/>
                      <a:pt x="54918" y="6625"/>
                      <a:pt x="57905" y="9552"/>
                    </a:cubicBezTo>
                    <a:cubicBezTo>
                      <a:pt x="60891" y="12479"/>
                      <a:pt x="63214" y="15916"/>
                      <a:pt x="64873" y="19874"/>
                    </a:cubicBezTo>
                    <a:cubicBezTo>
                      <a:pt x="66532" y="23833"/>
                      <a:pt x="67362" y="28063"/>
                      <a:pt x="67362" y="32591"/>
                    </a:cubicBezTo>
                    <a:lnTo>
                      <a:pt x="67362" y="32768"/>
                    </a:lnTo>
                    <a:cubicBezTo>
                      <a:pt x="67362" y="37295"/>
                      <a:pt x="66520" y="41538"/>
                      <a:pt x="64826" y="45496"/>
                    </a:cubicBezTo>
                    <a:close/>
                    <a:moveTo>
                      <a:pt x="52785" y="32756"/>
                    </a:moveTo>
                    <a:cubicBezTo>
                      <a:pt x="52785" y="30043"/>
                      <a:pt x="52323" y="27471"/>
                      <a:pt x="51387" y="25065"/>
                    </a:cubicBezTo>
                    <a:cubicBezTo>
                      <a:pt x="50450" y="22647"/>
                      <a:pt x="49123" y="20538"/>
                      <a:pt x="47405" y="18725"/>
                    </a:cubicBezTo>
                    <a:cubicBezTo>
                      <a:pt x="45686" y="16912"/>
                      <a:pt x="43648" y="15478"/>
                      <a:pt x="41289" y="14423"/>
                    </a:cubicBezTo>
                    <a:cubicBezTo>
                      <a:pt x="38931" y="13368"/>
                      <a:pt x="36371" y="12835"/>
                      <a:pt x="33598" y="12835"/>
                    </a:cubicBezTo>
                    <a:cubicBezTo>
                      <a:pt x="30825" y="12835"/>
                      <a:pt x="28182" y="13344"/>
                      <a:pt x="25859" y="14375"/>
                    </a:cubicBezTo>
                    <a:cubicBezTo>
                      <a:pt x="23536" y="15406"/>
                      <a:pt x="21545" y="16817"/>
                      <a:pt x="19886" y="18630"/>
                    </a:cubicBezTo>
                    <a:cubicBezTo>
                      <a:pt x="18227" y="20443"/>
                      <a:pt x="16923" y="22541"/>
                      <a:pt x="15987" y="24923"/>
                    </a:cubicBezTo>
                    <a:cubicBezTo>
                      <a:pt x="15051" y="27305"/>
                      <a:pt x="14589" y="29853"/>
                      <a:pt x="14589" y="32579"/>
                    </a:cubicBezTo>
                    <a:lnTo>
                      <a:pt x="14589" y="32756"/>
                    </a:lnTo>
                    <a:cubicBezTo>
                      <a:pt x="14589" y="35470"/>
                      <a:pt x="15051" y="38042"/>
                      <a:pt x="15987" y="40448"/>
                    </a:cubicBezTo>
                    <a:cubicBezTo>
                      <a:pt x="16923" y="42865"/>
                      <a:pt x="18251" y="44975"/>
                      <a:pt x="19969" y="46788"/>
                    </a:cubicBezTo>
                    <a:cubicBezTo>
                      <a:pt x="21688" y="48601"/>
                      <a:pt x="23714" y="50035"/>
                      <a:pt x="26037" y="51090"/>
                    </a:cubicBezTo>
                    <a:cubicBezTo>
                      <a:pt x="28360" y="52145"/>
                      <a:pt x="30943" y="52678"/>
                      <a:pt x="33776" y="52678"/>
                    </a:cubicBezTo>
                    <a:cubicBezTo>
                      <a:pt x="36608" y="52678"/>
                      <a:pt x="39121" y="52169"/>
                      <a:pt x="41467" y="51138"/>
                    </a:cubicBezTo>
                    <a:cubicBezTo>
                      <a:pt x="43826" y="50106"/>
                      <a:pt x="45828" y="48696"/>
                      <a:pt x="47488" y="46883"/>
                    </a:cubicBezTo>
                    <a:cubicBezTo>
                      <a:pt x="49147" y="45070"/>
                      <a:pt x="50450" y="42972"/>
                      <a:pt x="51387" y="40590"/>
                    </a:cubicBezTo>
                    <a:cubicBezTo>
                      <a:pt x="52323" y="38208"/>
                      <a:pt x="52785" y="35660"/>
                      <a:pt x="52785" y="32934"/>
                    </a:cubicBezTo>
                    <a:lnTo>
                      <a:pt x="52785" y="32756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AFF6907E-2FEF-A4FC-C034-325104EEFC44}"/>
                  </a:ext>
                </a:extLst>
              </p:cNvPr>
              <p:cNvSpPr/>
              <p:nvPr/>
            </p:nvSpPr>
            <p:spPr>
              <a:xfrm>
                <a:off x="1976552" y="6590654"/>
                <a:ext cx="67361" cy="65548"/>
              </a:xfrm>
              <a:custGeom>
                <a:avLst/>
                <a:gdLst>
                  <a:gd name="connsiteX0" fmla="*/ 64826 w 67361"/>
                  <a:gd name="connsiteY0" fmla="*/ 45485 h 65548"/>
                  <a:gd name="connsiteX1" fmla="*/ 57810 w 67361"/>
                  <a:gd name="connsiteY1" fmla="*/ 55902 h 65548"/>
                  <a:gd name="connsiteX2" fmla="*/ 47120 w 67361"/>
                  <a:gd name="connsiteY2" fmla="*/ 62965 h 65548"/>
                  <a:gd name="connsiteX3" fmla="*/ 33586 w 67361"/>
                  <a:gd name="connsiteY3" fmla="*/ 65548 h 65548"/>
                  <a:gd name="connsiteX4" fmla="*/ 20099 w 67361"/>
                  <a:gd name="connsiteY4" fmla="*/ 62965 h 65548"/>
                  <a:gd name="connsiteX5" fmla="*/ 9457 w 67361"/>
                  <a:gd name="connsiteY5" fmla="*/ 55996 h 65548"/>
                  <a:gd name="connsiteX6" fmla="*/ 2489 w 67361"/>
                  <a:gd name="connsiteY6" fmla="*/ 45674 h 65548"/>
                  <a:gd name="connsiteX7" fmla="*/ 0 w 67361"/>
                  <a:gd name="connsiteY7" fmla="*/ 32958 h 65548"/>
                  <a:gd name="connsiteX8" fmla="*/ 0 w 67361"/>
                  <a:gd name="connsiteY8" fmla="*/ 32780 h 65548"/>
                  <a:gd name="connsiteX9" fmla="*/ 2536 w 67361"/>
                  <a:gd name="connsiteY9" fmla="*/ 20064 h 65548"/>
                  <a:gd name="connsiteX10" fmla="*/ 9552 w 67361"/>
                  <a:gd name="connsiteY10" fmla="*/ 9647 h 65548"/>
                  <a:gd name="connsiteX11" fmla="*/ 20242 w 67361"/>
                  <a:gd name="connsiteY11" fmla="*/ 2584 h 65548"/>
                  <a:gd name="connsiteX12" fmla="*/ 33776 w 67361"/>
                  <a:gd name="connsiteY12" fmla="*/ 0 h 65548"/>
                  <a:gd name="connsiteX13" fmla="*/ 47262 w 67361"/>
                  <a:gd name="connsiteY13" fmla="*/ 2584 h 65548"/>
                  <a:gd name="connsiteX14" fmla="*/ 57905 w 67361"/>
                  <a:gd name="connsiteY14" fmla="*/ 9552 h 65548"/>
                  <a:gd name="connsiteX15" fmla="*/ 64873 w 67361"/>
                  <a:gd name="connsiteY15" fmla="*/ 19874 h 65548"/>
                  <a:gd name="connsiteX16" fmla="*/ 67362 w 67361"/>
                  <a:gd name="connsiteY16" fmla="*/ 32591 h 65548"/>
                  <a:gd name="connsiteX17" fmla="*/ 67362 w 67361"/>
                  <a:gd name="connsiteY17" fmla="*/ 32768 h 65548"/>
                  <a:gd name="connsiteX18" fmla="*/ 64826 w 67361"/>
                  <a:gd name="connsiteY18" fmla="*/ 45496 h 65548"/>
                  <a:gd name="connsiteX19" fmla="*/ 52785 w 67361"/>
                  <a:gd name="connsiteY19" fmla="*/ 32756 h 65548"/>
                  <a:gd name="connsiteX20" fmla="*/ 51387 w 67361"/>
                  <a:gd name="connsiteY20" fmla="*/ 25065 h 65548"/>
                  <a:gd name="connsiteX21" fmla="*/ 47405 w 67361"/>
                  <a:gd name="connsiteY21" fmla="*/ 18725 h 65548"/>
                  <a:gd name="connsiteX22" fmla="*/ 41289 w 67361"/>
                  <a:gd name="connsiteY22" fmla="*/ 14423 h 65548"/>
                  <a:gd name="connsiteX23" fmla="*/ 33598 w 67361"/>
                  <a:gd name="connsiteY23" fmla="*/ 12835 h 65548"/>
                  <a:gd name="connsiteX24" fmla="*/ 25859 w 67361"/>
                  <a:gd name="connsiteY24" fmla="*/ 14375 h 65548"/>
                  <a:gd name="connsiteX25" fmla="*/ 19886 w 67361"/>
                  <a:gd name="connsiteY25" fmla="*/ 18630 h 65548"/>
                  <a:gd name="connsiteX26" fmla="*/ 15987 w 67361"/>
                  <a:gd name="connsiteY26" fmla="*/ 24923 h 65548"/>
                  <a:gd name="connsiteX27" fmla="*/ 14589 w 67361"/>
                  <a:gd name="connsiteY27" fmla="*/ 32579 h 65548"/>
                  <a:gd name="connsiteX28" fmla="*/ 14589 w 67361"/>
                  <a:gd name="connsiteY28" fmla="*/ 32756 h 65548"/>
                  <a:gd name="connsiteX29" fmla="*/ 15987 w 67361"/>
                  <a:gd name="connsiteY29" fmla="*/ 40448 h 65548"/>
                  <a:gd name="connsiteX30" fmla="*/ 19969 w 67361"/>
                  <a:gd name="connsiteY30" fmla="*/ 46788 h 65548"/>
                  <a:gd name="connsiteX31" fmla="*/ 26037 w 67361"/>
                  <a:gd name="connsiteY31" fmla="*/ 51090 h 65548"/>
                  <a:gd name="connsiteX32" fmla="*/ 33776 w 67361"/>
                  <a:gd name="connsiteY32" fmla="*/ 52678 h 65548"/>
                  <a:gd name="connsiteX33" fmla="*/ 41467 w 67361"/>
                  <a:gd name="connsiteY33" fmla="*/ 51138 h 65548"/>
                  <a:gd name="connsiteX34" fmla="*/ 47487 w 67361"/>
                  <a:gd name="connsiteY34" fmla="*/ 46883 h 65548"/>
                  <a:gd name="connsiteX35" fmla="*/ 51387 w 67361"/>
                  <a:gd name="connsiteY35" fmla="*/ 40590 h 65548"/>
                  <a:gd name="connsiteX36" fmla="*/ 52785 w 67361"/>
                  <a:gd name="connsiteY36" fmla="*/ 32934 h 65548"/>
                  <a:gd name="connsiteX37" fmla="*/ 52785 w 67361"/>
                  <a:gd name="connsiteY37" fmla="*/ 32756 h 65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7361" h="65548">
                    <a:moveTo>
                      <a:pt x="64826" y="45485"/>
                    </a:moveTo>
                    <a:cubicBezTo>
                      <a:pt x="63131" y="49443"/>
                      <a:pt x="60796" y="52903"/>
                      <a:pt x="57810" y="55902"/>
                    </a:cubicBezTo>
                    <a:cubicBezTo>
                      <a:pt x="54823" y="58900"/>
                      <a:pt x="51256" y="61247"/>
                      <a:pt x="47120" y="62965"/>
                    </a:cubicBezTo>
                    <a:cubicBezTo>
                      <a:pt x="42984" y="64683"/>
                      <a:pt x="38469" y="65548"/>
                      <a:pt x="33586" y="65548"/>
                    </a:cubicBezTo>
                    <a:cubicBezTo>
                      <a:pt x="28703" y="65548"/>
                      <a:pt x="24200" y="64683"/>
                      <a:pt x="20099" y="62965"/>
                    </a:cubicBezTo>
                    <a:cubicBezTo>
                      <a:pt x="15999" y="61247"/>
                      <a:pt x="12444" y="58924"/>
                      <a:pt x="9457" y="55996"/>
                    </a:cubicBezTo>
                    <a:cubicBezTo>
                      <a:pt x="6471" y="53069"/>
                      <a:pt x="4148" y="49632"/>
                      <a:pt x="2489" y="45674"/>
                    </a:cubicBezTo>
                    <a:cubicBezTo>
                      <a:pt x="830" y="41716"/>
                      <a:pt x="0" y="37485"/>
                      <a:pt x="0" y="32958"/>
                    </a:cubicBezTo>
                    <a:lnTo>
                      <a:pt x="0" y="32780"/>
                    </a:lnTo>
                    <a:cubicBezTo>
                      <a:pt x="0" y="28253"/>
                      <a:pt x="841" y="24010"/>
                      <a:pt x="2536" y="20064"/>
                    </a:cubicBezTo>
                    <a:cubicBezTo>
                      <a:pt x="4231" y="16118"/>
                      <a:pt x="6566" y="12645"/>
                      <a:pt x="9552" y="9647"/>
                    </a:cubicBezTo>
                    <a:cubicBezTo>
                      <a:pt x="12538" y="6660"/>
                      <a:pt x="16106" y="4302"/>
                      <a:pt x="20242" y="2584"/>
                    </a:cubicBezTo>
                    <a:cubicBezTo>
                      <a:pt x="24378" y="865"/>
                      <a:pt x="28893" y="0"/>
                      <a:pt x="33776" y="0"/>
                    </a:cubicBezTo>
                    <a:cubicBezTo>
                      <a:pt x="38658" y="0"/>
                      <a:pt x="43162" y="865"/>
                      <a:pt x="47262" y="2584"/>
                    </a:cubicBezTo>
                    <a:cubicBezTo>
                      <a:pt x="51363" y="4302"/>
                      <a:pt x="54918" y="6625"/>
                      <a:pt x="57905" y="9552"/>
                    </a:cubicBezTo>
                    <a:cubicBezTo>
                      <a:pt x="60891" y="12479"/>
                      <a:pt x="63214" y="15916"/>
                      <a:pt x="64873" y="19874"/>
                    </a:cubicBezTo>
                    <a:cubicBezTo>
                      <a:pt x="66532" y="23833"/>
                      <a:pt x="67362" y="28063"/>
                      <a:pt x="67362" y="32591"/>
                    </a:cubicBezTo>
                    <a:lnTo>
                      <a:pt x="67362" y="32768"/>
                    </a:lnTo>
                    <a:cubicBezTo>
                      <a:pt x="67362" y="37295"/>
                      <a:pt x="66520" y="41538"/>
                      <a:pt x="64826" y="45496"/>
                    </a:cubicBezTo>
                    <a:close/>
                    <a:moveTo>
                      <a:pt x="52785" y="32756"/>
                    </a:moveTo>
                    <a:cubicBezTo>
                      <a:pt x="52785" y="30043"/>
                      <a:pt x="52323" y="27471"/>
                      <a:pt x="51387" y="25065"/>
                    </a:cubicBezTo>
                    <a:cubicBezTo>
                      <a:pt x="50450" y="22647"/>
                      <a:pt x="49123" y="20538"/>
                      <a:pt x="47405" y="18725"/>
                    </a:cubicBezTo>
                    <a:cubicBezTo>
                      <a:pt x="45686" y="16912"/>
                      <a:pt x="43648" y="15478"/>
                      <a:pt x="41289" y="14423"/>
                    </a:cubicBezTo>
                    <a:cubicBezTo>
                      <a:pt x="38931" y="13368"/>
                      <a:pt x="36371" y="12835"/>
                      <a:pt x="33598" y="12835"/>
                    </a:cubicBezTo>
                    <a:cubicBezTo>
                      <a:pt x="30825" y="12835"/>
                      <a:pt x="28182" y="13344"/>
                      <a:pt x="25859" y="14375"/>
                    </a:cubicBezTo>
                    <a:cubicBezTo>
                      <a:pt x="23536" y="15406"/>
                      <a:pt x="21545" y="16817"/>
                      <a:pt x="19886" y="18630"/>
                    </a:cubicBezTo>
                    <a:cubicBezTo>
                      <a:pt x="18227" y="20443"/>
                      <a:pt x="16923" y="22541"/>
                      <a:pt x="15987" y="24923"/>
                    </a:cubicBezTo>
                    <a:cubicBezTo>
                      <a:pt x="15051" y="27305"/>
                      <a:pt x="14589" y="29853"/>
                      <a:pt x="14589" y="32579"/>
                    </a:cubicBezTo>
                    <a:lnTo>
                      <a:pt x="14589" y="32756"/>
                    </a:lnTo>
                    <a:cubicBezTo>
                      <a:pt x="14589" y="35470"/>
                      <a:pt x="15051" y="38042"/>
                      <a:pt x="15987" y="40448"/>
                    </a:cubicBezTo>
                    <a:cubicBezTo>
                      <a:pt x="16923" y="42865"/>
                      <a:pt x="18251" y="44975"/>
                      <a:pt x="19969" y="46788"/>
                    </a:cubicBezTo>
                    <a:cubicBezTo>
                      <a:pt x="21688" y="48601"/>
                      <a:pt x="23714" y="50035"/>
                      <a:pt x="26037" y="51090"/>
                    </a:cubicBezTo>
                    <a:cubicBezTo>
                      <a:pt x="28360" y="52145"/>
                      <a:pt x="30943" y="52678"/>
                      <a:pt x="33776" y="52678"/>
                    </a:cubicBezTo>
                    <a:cubicBezTo>
                      <a:pt x="36608" y="52678"/>
                      <a:pt x="39121" y="52169"/>
                      <a:pt x="41467" y="51138"/>
                    </a:cubicBezTo>
                    <a:cubicBezTo>
                      <a:pt x="43825" y="50106"/>
                      <a:pt x="45828" y="48696"/>
                      <a:pt x="47487" y="46883"/>
                    </a:cubicBezTo>
                    <a:cubicBezTo>
                      <a:pt x="49147" y="45070"/>
                      <a:pt x="50450" y="42972"/>
                      <a:pt x="51387" y="40590"/>
                    </a:cubicBezTo>
                    <a:cubicBezTo>
                      <a:pt x="52323" y="38208"/>
                      <a:pt x="52785" y="35660"/>
                      <a:pt x="52785" y="32934"/>
                    </a:cubicBezTo>
                    <a:lnTo>
                      <a:pt x="52785" y="32756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4EF11F01-56CB-C7D3-124F-BC5C3E95331F}"/>
                  </a:ext>
                </a:extLst>
              </p:cNvPr>
              <p:cNvSpPr/>
              <p:nvPr/>
            </p:nvSpPr>
            <p:spPr>
              <a:xfrm>
                <a:off x="2045181" y="6591543"/>
                <a:ext cx="96183" cy="64019"/>
              </a:xfrm>
              <a:custGeom>
                <a:avLst/>
                <a:gdLst>
                  <a:gd name="connsiteX0" fmla="*/ 74520 w 96183"/>
                  <a:gd name="connsiteY0" fmla="*/ 64020 h 64019"/>
                  <a:gd name="connsiteX1" fmla="*/ 62384 w 96183"/>
                  <a:gd name="connsiteY1" fmla="*/ 64020 h 64019"/>
                  <a:gd name="connsiteX2" fmla="*/ 48080 w 96183"/>
                  <a:gd name="connsiteY2" fmla="*/ 22553 h 64019"/>
                  <a:gd name="connsiteX3" fmla="*/ 33776 w 96183"/>
                  <a:gd name="connsiteY3" fmla="*/ 64020 h 64019"/>
                  <a:gd name="connsiteX4" fmla="*/ 21640 w 96183"/>
                  <a:gd name="connsiteY4" fmla="*/ 64020 h 64019"/>
                  <a:gd name="connsiteX5" fmla="*/ 0 w 96183"/>
                  <a:gd name="connsiteY5" fmla="*/ 190 h 64019"/>
                  <a:gd name="connsiteX6" fmla="*/ 14944 w 96183"/>
                  <a:gd name="connsiteY6" fmla="*/ 190 h 64019"/>
                  <a:gd name="connsiteX7" fmla="*/ 28075 w 96183"/>
                  <a:gd name="connsiteY7" fmla="*/ 43102 h 64019"/>
                  <a:gd name="connsiteX8" fmla="*/ 42297 w 96183"/>
                  <a:gd name="connsiteY8" fmla="*/ 0 h 64019"/>
                  <a:gd name="connsiteX9" fmla="*/ 54254 w 96183"/>
                  <a:gd name="connsiteY9" fmla="*/ 0 h 64019"/>
                  <a:gd name="connsiteX10" fmla="*/ 68476 w 96183"/>
                  <a:gd name="connsiteY10" fmla="*/ 43102 h 64019"/>
                  <a:gd name="connsiteX11" fmla="*/ 81607 w 96183"/>
                  <a:gd name="connsiteY11" fmla="*/ 190 h 64019"/>
                  <a:gd name="connsiteX12" fmla="*/ 96184 w 96183"/>
                  <a:gd name="connsiteY12" fmla="*/ 190 h 64019"/>
                  <a:gd name="connsiteX13" fmla="*/ 74544 w 96183"/>
                  <a:gd name="connsiteY13" fmla="*/ 64020 h 64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6183" h="64019">
                    <a:moveTo>
                      <a:pt x="74520" y="64020"/>
                    </a:moveTo>
                    <a:lnTo>
                      <a:pt x="62384" y="64020"/>
                    </a:lnTo>
                    <a:lnTo>
                      <a:pt x="48080" y="22553"/>
                    </a:lnTo>
                    <a:lnTo>
                      <a:pt x="33776" y="64020"/>
                    </a:lnTo>
                    <a:lnTo>
                      <a:pt x="21640" y="64020"/>
                    </a:lnTo>
                    <a:lnTo>
                      <a:pt x="0" y="190"/>
                    </a:lnTo>
                    <a:lnTo>
                      <a:pt x="14944" y="190"/>
                    </a:lnTo>
                    <a:lnTo>
                      <a:pt x="28075" y="43102"/>
                    </a:lnTo>
                    <a:lnTo>
                      <a:pt x="42297" y="0"/>
                    </a:lnTo>
                    <a:lnTo>
                      <a:pt x="54254" y="0"/>
                    </a:lnTo>
                    <a:lnTo>
                      <a:pt x="68476" y="43102"/>
                    </a:lnTo>
                    <a:lnTo>
                      <a:pt x="81607" y="190"/>
                    </a:lnTo>
                    <a:lnTo>
                      <a:pt x="96184" y="190"/>
                    </a:lnTo>
                    <a:lnTo>
                      <a:pt x="74544" y="64020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AF9E907-C88B-0AEB-FD27-ABA04C2A684B}"/>
                  </a:ext>
                </a:extLst>
              </p:cNvPr>
              <p:cNvSpPr/>
              <p:nvPr/>
            </p:nvSpPr>
            <p:spPr>
              <a:xfrm>
                <a:off x="1847244" y="6591863"/>
                <a:ext cx="54787" cy="63379"/>
              </a:xfrm>
              <a:custGeom>
                <a:avLst/>
                <a:gdLst>
                  <a:gd name="connsiteX0" fmla="*/ 36004 w 54787"/>
                  <a:gd name="connsiteY0" fmla="*/ 40744 h 63379"/>
                  <a:gd name="connsiteX1" fmla="*/ 49123 w 54787"/>
                  <a:gd name="connsiteY1" fmla="*/ 33633 h 63379"/>
                  <a:gd name="connsiteX2" fmla="*/ 52880 w 54787"/>
                  <a:gd name="connsiteY2" fmla="*/ 21095 h 63379"/>
                  <a:gd name="connsiteX3" fmla="*/ 52880 w 54787"/>
                  <a:gd name="connsiteY3" fmla="*/ 20917 h 63379"/>
                  <a:gd name="connsiteX4" fmla="*/ 46587 w 54787"/>
                  <a:gd name="connsiteY4" fmla="*/ 5523 h 63379"/>
                  <a:gd name="connsiteX5" fmla="*/ 28976 w 54787"/>
                  <a:gd name="connsiteY5" fmla="*/ 0 h 63379"/>
                  <a:gd name="connsiteX6" fmla="*/ 0 w 54787"/>
                  <a:gd name="connsiteY6" fmla="*/ 0 h 63379"/>
                  <a:gd name="connsiteX7" fmla="*/ 0 w 54787"/>
                  <a:gd name="connsiteY7" fmla="*/ 63380 h 63379"/>
                  <a:gd name="connsiteX8" fmla="*/ 13949 w 54787"/>
                  <a:gd name="connsiteY8" fmla="*/ 63380 h 63379"/>
                  <a:gd name="connsiteX9" fmla="*/ 13949 w 54787"/>
                  <a:gd name="connsiteY9" fmla="*/ 12586 h 63379"/>
                  <a:gd name="connsiteX10" fmla="*/ 27803 w 54787"/>
                  <a:gd name="connsiteY10" fmla="*/ 12586 h 63379"/>
                  <a:gd name="connsiteX11" fmla="*/ 35862 w 54787"/>
                  <a:gd name="connsiteY11" fmla="*/ 14849 h 63379"/>
                  <a:gd name="connsiteX12" fmla="*/ 38765 w 54787"/>
                  <a:gd name="connsiteY12" fmla="*/ 21640 h 63379"/>
                  <a:gd name="connsiteX13" fmla="*/ 38765 w 54787"/>
                  <a:gd name="connsiteY13" fmla="*/ 21818 h 63379"/>
                  <a:gd name="connsiteX14" fmla="*/ 36004 w 54787"/>
                  <a:gd name="connsiteY14" fmla="*/ 28336 h 63379"/>
                  <a:gd name="connsiteX15" fmla="*/ 28075 w 54787"/>
                  <a:gd name="connsiteY15" fmla="*/ 30777 h 63379"/>
                  <a:gd name="connsiteX16" fmla="*/ 20941 w 54787"/>
                  <a:gd name="connsiteY16" fmla="*/ 30777 h 63379"/>
                  <a:gd name="connsiteX17" fmla="*/ 20941 w 54787"/>
                  <a:gd name="connsiteY17" fmla="*/ 43091 h 63379"/>
                  <a:gd name="connsiteX18" fmla="*/ 36122 w 54787"/>
                  <a:gd name="connsiteY18" fmla="*/ 63368 h 63379"/>
                  <a:gd name="connsiteX19" fmla="*/ 54788 w 54787"/>
                  <a:gd name="connsiteY19" fmla="*/ 63368 h 63379"/>
                  <a:gd name="connsiteX20" fmla="*/ 36004 w 54787"/>
                  <a:gd name="connsiteY20" fmla="*/ 40732 h 63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4787" h="63379">
                    <a:moveTo>
                      <a:pt x="36004" y="40744"/>
                    </a:moveTo>
                    <a:cubicBezTo>
                      <a:pt x="43956" y="39038"/>
                      <a:pt x="46622" y="36869"/>
                      <a:pt x="49123" y="33633"/>
                    </a:cubicBezTo>
                    <a:cubicBezTo>
                      <a:pt x="51624" y="30398"/>
                      <a:pt x="52880" y="26227"/>
                      <a:pt x="52880" y="21095"/>
                    </a:cubicBezTo>
                    <a:lnTo>
                      <a:pt x="52880" y="20917"/>
                    </a:lnTo>
                    <a:cubicBezTo>
                      <a:pt x="52880" y="14340"/>
                      <a:pt x="50782" y="9208"/>
                      <a:pt x="46587" y="5523"/>
                    </a:cubicBezTo>
                    <a:cubicBezTo>
                      <a:pt x="42391" y="1837"/>
                      <a:pt x="36525" y="0"/>
                      <a:pt x="28976" y="0"/>
                    </a:cubicBezTo>
                    <a:lnTo>
                      <a:pt x="0" y="0"/>
                    </a:lnTo>
                    <a:lnTo>
                      <a:pt x="0" y="63380"/>
                    </a:lnTo>
                    <a:lnTo>
                      <a:pt x="13949" y="63380"/>
                    </a:lnTo>
                    <a:lnTo>
                      <a:pt x="13949" y="12586"/>
                    </a:lnTo>
                    <a:lnTo>
                      <a:pt x="27803" y="12586"/>
                    </a:lnTo>
                    <a:cubicBezTo>
                      <a:pt x="31240" y="12586"/>
                      <a:pt x="33930" y="13344"/>
                      <a:pt x="35862" y="14849"/>
                    </a:cubicBezTo>
                    <a:cubicBezTo>
                      <a:pt x="37793" y="16355"/>
                      <a:pt x="38765" y="18618"/>
                      <a:pt x="38765" y="21640"/>
                    </a:cubicBezTo>
                    <a:lnTo>
                      <a:pt x="38765" y="21818"/>
                    </a:lnTo>
                    <a:cubicBezTo>
                      <a:pt x="38765" y="24532"/>
                      <a:pt x="37841" y="26701"/>
                      <a:pt x="36004" y="28336"/>
                    </a:cubicBezTo>
                    <a:cubicBezTo>
                      <a:pt x="34167" y="29971"/>
                      <a:pt x="31524" y="30777"/>
                      <a:pt x="28075" y="30777"/>
                    </a:cubicBezTo>
                    <a:lnTo>
                      <a:pt x="20941" y="30777"/>
                    </a:lnTo>
                    <a:lnTo>
                      <a:pt x="20941" y="43091"/>
                    </a:lnTo>
                    <a:lnTo>
                      <a:pt x="36122" y="63368"/>
                    </a:lnTo>
                    <a:lnTo>
                      <a:pt x="54788" y="63368"/>
                    </a:lnTo>
                    <a:lnTo>
                      <a:pt x="36004" y="40732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8AB0850E-57B9-7543-0828-D0D2ACAD70F8}"/>
                  </a:ext>
                </a:extLst>
              </p:cNvPr>
              <p:cNvSpPr/>
              <p:nvPr/>
            </p:nvSpPr>
            <p:spPr>
              <a:xfrm>
                <a:off x="1913895" y="6591863"/>
                <a:ext cx="54787" cy="63379"/>
              </a:xfrm>
              <a:custGeom>
                <a:avLst/>
                <a:gdLst>
                  <a:gd name="connsiteX0" fmla="*/ 36004 w 54787"/>
                  <a:gd name="connsiteY0" fmla="*/ 40744 h 63379"/>
                  <a:gd name="connsiteX1" fmla="*/ 49123 w 54787"/>
                  <a:gd name="connsiteY1" fmla="*/ 33633 h 63379"/>
                  <a:gd name="connsiteX2" fmla="*/ 52880 w 54787"/>
                  <a:gd name="connsiteY2" fmla="*/ 21095 h 63379"/>
                  <a:gd name="connsiteX3" fmla="*/ 52880 w 54787"/>
                  <a:gd name="connsiteY3" fmla="*/ 20917 h 63379"/>
                  <a:gd name="connsiteX4" fmla="*/ 46587 w 54787"/>
                  <a:gd name="connsiteY4" fmla="*/ 5523 h 63379"/>
                  <a:gd name="connsiteX5" fmla="*/ 28976 w 54787"/>
                  <a:gd name="connsiteY5" fmla="*/ 0 h 63379"/>
                  <a:gd name="connsiteX6" fmla="*/ 0 w 54787"/>
                  <a:gd name="connsiteY6" fmla="*/ 0 h 63379"/>
                  <a:gd name="connsiteX7" fmla="*/ 0 w 54787"/>
                  <a:gd name="connsiteY7" fmla="*/ 63380 h 63379"/>
                  <a:gd name="connsiteX8" fmla="*/ 13949 w 54787"/>
                  <a:gd name="connsiteY8" fmla="*/ 63380 h 63379"/>
                  <a:gd name="connsiteX9" fmla="*/ 13949 w 54787"/>
                  <a:gd name="connsiteY9" fmla="*/ 12586 h 63379"/>
                  <a:gd name="connsiteX10" fmla="*/ 27803 w 54787"/>
                  <a:gd name="connsiteY10" fmla="*/ 12586 h 63379"/>
                  <a:gd name="connsiteX11" fmla="*/ 35862 w 54787"/>
                  <a:gd name="connsiteY11" fmla="*/ 14849 h 63379"/>
                  <a:gd name="connsiteX12" fmla="*/ 38765 w 54787"/>
                  <a:gd name="connsiteY12" fmla="*/ 21640 h 63379"/>
                  <a:gd name="connsiteX13" fmla="*/ 38765 w 54787"/>
                  <a:gd name="connsiteY13" fmla="*/ 21818 h 63379"/>
                  <a:gd name="connsiteX14" fmla="*/ 36004 w 54787"/>
                  <a:gd name="connsiteY14" fmla="*/ 28336 h 63379"/>
                  <a:gd name="connsiteX15" fmla="*/ 28075 w 54787"/>
                  <a:gd name="connsiteY15" fmla="*/ 30777 h 63379"/>
                  <a:gd name="connsiteX16" fmla="*/ 20941 w 54787"/>
                  <a:gd name="connsiteY16" fmla="*/ 30777 h 63379"/>
                  <a:gd name="connsiteX17" fmla="*/ 20941 w 54787"/>
                  <a:gd name="connsiteY17" fmla="*/ 43091 h 63379"/>
                  <a:gd name="connsiteX18" fmla="*/ 36122 w 54787"/>
                  <a:gd name="connsiteY18" fmla="*/ 63368 h 63379"/>
                  <a:gd name="connsiteX19" fmla="*/ 54788 w 54787"/>
                  <a:gd name="connsiteY19" fmla="*/ 63368 h 63379"/>
                  <a:gd name="connsiteX20" fmla="*/ 36004 w 54787"/>
                  <a:gd name="connsiteY20" fmla="*/ 40732 h 63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4787" h="63379">
                    <a:moveTo>
                      <a:pt x="36004" y="40744"/>
                    </a:moveTo>
                    <a:cubicBezTo>
                      <a:pt x="43956" y="39038"/>
                      <a:pt x="46622" y="36869"/>
                      <a:pt x="49123" y="33633"/>
                    </a:cubicBezTo>
                    <a:cubicBezTo>
                      <a:pt x="51624" y="30398"/>
                      <a:pt x="52880" y="26227"/>
                      <a:pt x="52880" y="21095"/>
                    </a:cubicBezTo>
                    <a:lnTo>
                      <a:pt x="52880" y="20917"/>
                    </a:lnTo>
                    <a:cubicBezTo>
                      <a:pt x="52880" y="14340"/>
                      <a:pt x="50782" y="9208"/>
                      <a:pt x="46587" y="5523"/>
                    </a:cubicBezTo>
                    <a:cubicBezTo>
                      <a:pt x="42391" y="1837"/>
                      <a:pt x="36525" y="0"/>
                      <a:pt x="28976" y="0"/>
                    </a:cubicBezTo>
                    <a:lnTo>
                      <a:pt x="0" y="0"/>
                    </a:lnTo>
                    <a:lnTo>
                      <a:pt x="0" y="63380"/>
                    </a:lnTo>
                    <a:lnTo>
                      <a:pt x="13949" y="63380"/>
                    </a:lnTo>
                    <a:lnTo>
                      <a:pt x="13949" y="12586"/>
                    </a:lnTo>
                    <a:lnTo>
                      <a:pt x="27803" y="12586"/>
                    </a:lnTo>
                    <a:cubicBezTo>
                      <a:pt x="31240" y="12586"/>
                      <a:pt x="33930" y="13344"/>
                      <a:pt x="35862" y="14849"/>
                    </a:cubicBezTo>
                    <a:cubicBezTo>
                      <a:pt x="37793" y="16355"/>
                      <a:pt x="38765" y="18618"/>
                      <a:pt x="38765" y="21640"/>
                    </a:cubicBezTo>
                    <a:lnTo>
                      <a:pt x="38765" y="21818"/>
                    </a:lnTo>
                    <a:cubicBezTo>
                      <a:pt x="38765" y="24532"/>
                      <a:pt x="37841" y="26701"/>
                      <a:pt x="36004" y="28336"/>
                    </a:cubicBezTo>
                    <a:cubicBezTo>
                      <a:pt x="34167" y="29971"/>
                      <a:pt x="31524" y="30777"/>
                      <a:pt x="28075" y="30777"/>
                    </a:cubicBezTo>
                    <a:lnTo>
                      <a:pt x="20941" y="30777"/>
                    </a:lnTo>
                    <a:lnTo>
                      <a:pt x="20941" y="43091"/>
                    </a:lnTo>
                    <a:lnTo>
                      <a:pt x="36122" y="63368"/>
                    </a:lnTo>
                    <a:lnTo>
                      <a:pt x="54788" y="63368"/>
                    </a:lnTo>
                    <a:lnTo>
                      <a:pt x="36004" y="40732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4222C66-2BDC-D11D-4A46-0ADF351E4314}"/>
                </a:ext>
              </a:extLst>
            </p:cNvPr>
            <p:cNvGrpSpPr/>
            <p:nvPr/>
          </p:nvGrpSpPr>
          <p:grpSpPr>
            <a:xfrm>
              <a:off x="289932" y="6281977"/>
              <a:ext cx="5523639" cy="129643"/>
              <a:chOff x="-20516" y="2052871"/>
              <a:chExt cx="8461851" cy="198605"/>
            </a:xfrm>
            <a:grpFill/>
          </p:grpSpPr>
          <p:sp>
            <p:nvSpPr>
              <p:cNvPr id="17" name="AutoShape 24">
                <a:extLst>
                  <a:ext uri="{FF2B5EF4-FFF2-40B4-BE49-F238E27FC236}">
                    <a16:creationId xmlns:a16="http://schemas.microsoft.com/office/drawing/2014/main" id="{8A9BCAC9-D317-77E9-4DA8-7AE6EC6807D8}"/>
                  </a:ext>
                </a:extLst>
              </p:cNvPr>
              <p:cNvSpPr/>
              <p:nvPr/>
            </p:nvSpPr>
            <p:spPr>
              <a:xfrm flipV="1">
                <a:off x="1032937" y="2052871"/>
                <a:ext cx="7408398" cy="0"/>
              </a:xfrm>
              <a:prstGeom prst="line">
                <a:avLst/>
              </a:prstGeom>
              <a:grpFill/>
              <a:ln w="28575" cap="flat">
                <a:solidFill>
                  <a:schemeClr val="bg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AutoShape 24">
                <a:extLst>
                  <a:ext uri="{FF2B5EF4-FFF2-40B4-BE49-F238E27FC236}">
                    <a16:creationId xmlns:a16="http://schemas.microsoft.com/office/drawing/2014/main" id="{3050ADE1-EF00-D05B-0CC3-C9B99716B399}"/>
                  </a:ext>
                </a:extLst>
              </p:cNvPr>
              <p:cNvSpPr/>
              <p:nvPr/>
            </p:nvSpPr>
            <p:spPr>
              <a:xfrm flipV="1">
                <a:off x="-20516" y="2052877"/>
                <a:ext cx="927307" cy="0"/>
              </a:xfrm>
              <a:prstGeom prst="line">
                <a:avLst/>
              </a:prstGeom>
              <a:grpFill/>
              <a:ln w="28575" cap="flat">
                <a:solidFill>
                  <a:schemeClr val="bg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AutoShape 24">
                <a:extLst>
                  <a:ext uri="{FF2B5EF4-FFF2-40B4-BE49-F238E27FC236}">
                    <a16:creationId xmlns:a16="http://schemas.microsoft.com/office/drawing/2014/main" id="{701DE32D-8674-6E81-1F23-4CFF17E281D9}"/>
                  </a:ext>
                </a:extLst>
              </p:cNvPr>
              <p:cNvSpPr/>
              <p:nvPr/>
            </p:nvSpPr>
            <p:spPr>
              <a:xfrm flipH="1" flipV="1">
                <a:off x="968334" y="2131093"/>
                <a:ext cx="0" cy="120383"/>
              </a:xfrm>
              <a:prstGeom prst="line">
                <a:avLst/>
              </a:prstGeom>
              <a:grpFill/>
              <a:ln w="28575" cap="flat">
                <a:solidFill>
                  <a:schemeClr val="bg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ZA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48" name="Title 22">
            <a:extLst>
              <a:ext uri="{FF2B5EF4-FFF2-40B4-BE49-F238E27FC236}">
                <a16:creationId xmlns:a16="http://schemas.microsoft.com/office/drawing/2014/main" id="{777F6401-85E8-F74A-16CC-31167DCC7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075" y="575013"/>
            <a:ext cx="5172287" cy="377626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8894C82E-BA35-1024-75D9-ECDA7F483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0202" y="1556724"/>
            <a:ext cx="5184344" cy="452279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l">
              <a:buNone/>
              <a:defRPr sz="1600"/>
            </a:lvl2pPr>
            <a:lvl3pPr marL="914400" indent="0" algn="l">
              <a:buNone/>
              <a:defRPr sz="1600"/>
            </a:lvl3pPr>
            <a:lvl4pPr marL="1371600" indent="0" algn="l">
              <a:buNone/>
              <a:defRPr sz="1600"/>
            </a:lvl4pPr>
            <a:lvl5pPr marL="1828800" indent="0" algn="l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7AAECF0-E649-084B-D3A3-0312F8C43A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417" y="1050288"/>
            <a:ext cx="5171817" cy="3051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subheading tex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2B5D090-7342-2E9E-E764-9A43CCC66C2F}"/>
              </a:ext>
            </a:extLst>
          </p:cNvPr>
          <p:cNvSpPr txBox="1"/>
          <p:nvPr userDrawn="1"/>
        </p:nvSpPr>
        <p:spPr>
          <a:xfrm>
            <a:off x="-15071" y="6611779"/>
            <a:ext cx="609777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AU" sz="1000">
                <a:solidFill>
                  <a:schemeClr val="bg1"/>
                </a:solidFill>
              </a:rPr>
              <a:t>CONFIDENTIAL MATERIAL – DO NOT DISTRIBUTE </a:t>
            </a:r>
          </a:p>
        </p:txBody>
      </p:sp>
    </p:spTree>
    <p:extLst>
      <p:ext uri="{BB962C8B-B14F-4D97-AF65-F5344CB8AC3E}">
        <p14:creationId xmlns:p14="http://schemas.microsoft.com/office/powerpoint/2010/main" val="8007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MB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41A951E-3E10-3682-80F0-5063DCEE6261}"/>
              </a:ext>
            </a:extLst>
          </p:cNvPr>
          <p:cNvSpPr/>
          <p:nvPr userDrawn="1"/>
        </p:nvSpPr>
        <p:spPr>
          <a:xfrm>
            <a:off x="0" y="0"/>
            <a:ext cx="4064000" cy="6858000"/>
          </a:xfrm>
          <a:prstGeom prst="rect">
            <a:avLst/>
          </a:prstGeom>
          <a:solidFill>
            <a:srgbClr val="1D428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5123C52-B478-3A73-52CF-5A23AE3D8062}"/>
              </a:ext>
            </a:extLst>
          </p:cNvPr>
          <p:cNvGrpSpPr/>
          <p:nvPr userDrawn="1"/>
        </p:nvGrpSpPr>
        <p:grpSpPr>
          <a:xfrm>
            <a:off x="289932" y="6281977"/>
            <a:ext cx="3496977" cy="266800"/>
            <a:chOff x="289932" y="6281977"/>
            <a:chExt cx="3496977" cy="266800"/>
          </a:xfrm>
        </p:grpSpPr>
        <p:grpSp>
          <p:nvGrpSpPr>
            <p:cNvPr id="7" name="Graphic 25">
              <a:extLst>
                <a:ext uri="{FF2B5EF4-FFF2-40B4-BE49-F238E27FC236}">
                  <a16:creationId xmlns:a16="http://schemas.microsoft.com/office/drawing/2014/main" id="{9DD2494D-D78D-6A7D-7A76-6C15B14D82D4}"/>
                </a:ext>
              </a:extLst>
            </p:cNvPr>
            <p:cNvGrpSpPr/>
            <p:nvPr/>
          </p:nvGrpSpPr>
          <p:grpSpPr>
            <a:xfrm>
              <a:off x="641802" y="6483229"/>
              <a:ext cx="588657" cy="65548"/>
              <a:chOff x="1552708" y="6590654"/>
              <a:chExt cx="588657" cy="65548"/>
            </a:xfrm>
            <a:solidFill>
              <a:schemeClr val="bg1"/>
            </a:solidFill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2A1F7E63-7AD0-1567-4C9C-37D35B3CECE8}"/>
                  </a:ext>
                </a:extLst>
              </p:cNvPr>
              <p:cNvSpPr/>
              <p:nvPr/>
            </p:nvSpPr>
            <p:spPr>
              <a:xfrm>
                <a:off x="1552708" y="6591721"/>
                <a:ext cx="52512" cy="63379"/>
              </a:xfrm>
              <a:custGeom>
                <a:avLst/>
                <a:gdLst>
                  <a:gd name="connsiteX0" fmla="*/ 33231 w 52512"/>
                  <a:gd name="connsiteY0" fmla="*/ 12858 h 63379"/>
                  <a:gd name="connsiteX1" fmla="*/ 33231 w 52512"/>
                  <a:gd name="connsiteY1" fmla="*/ 63380 h 63379"/>
                  <a:gd name="connsiteX2" fmla="*/ 19282 w 52512"/>
                  <a:gd name="connsiteY2" fmla="*/ 63380 h 63379"/>
                  <a:gd name="connsiteX3" fmla="*/ 19282 w 52512"/>
                  <a:gd name="connsiteY3" fmla="*/ 12858 h 63379"/>
                  <a:gd name="connsiteX4" fmla="*/ 0 w 52512"/>
                  <a:gd name="connsiteY4" fmla="*/ 12858 h 63379"/>
                  <a:gd name="connsiteX5" fmla="*/ 0 w 52512"/>
                  <a:gd name="connsiteY5" fmla="*/ 0 h 63379"/>
                  <a:gd name="connsiteX6" fmla="*/ 52512 w 52512"/>
                  <a:gd name="connsiteY6" fmla="*/ 0 h 63379"/>
                  <a:gd name="connsiteX7" fmla="*/ 52512 w 52512"/>
                  <a:gd name="connsiteY7" fmla="*/ 12858 h 63379"/>
                  <a:gd name="connsiteX8" fmla="*/ 33231 w 52512"/>
                  <a:gd name="connsiteY8" fmla="*/ 12858 h 63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512" h="63379">
                    <a:moveTo>
                      <a:pt x="33231" y="12858"/>
                    </a:moveTo>
                    <a:lnTo>
                      <a:pt x="33231" y="63380"/>
                    </a:lnTo>
                    <a:lnTo>
                      <a:pt x="19282" y="63380"/>
                    </a:lnTo>
                    <a:lnTo>
                      <a:pt x="19282" y="12858"/>
                    </a:lnTo>
                    <a:lnTo>
                      <a:pt x="0" y="12858"/>
                    </a:lnTo>
                    <a:lnTo>
                      <a:pt x="0" y="0"/>
                    </a:lnTo>
                    <a:lnTo>
                      <a:pt x="52512" y="0"/>
                    </a:lnTo>
                    <a:lnTo>
                      <a:pt x="52512" y="12858"/>
                    </a:lnTo>
                    <a:lnTo>
                      <a:pt x="33231" y="12858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91FC172C-AA03-DA31-1AB5-D72A6FED3BA1}"/>
                  </a:ext>
                </a:extLst>
              </p:cNvPr>
              <p:cNvSpPr/>
              <p:nvPr/>
            </p:nvSpPr>
            <p:spPr>
              <a:xfrm>
                <a:off x="1613113" y="6590654"/>
                <a:ext cx="67361" cy="65548"/>
              </a:xfrm>
              <a:custGeom>
                <a:avLst/>
                <a:gdLst>
                  <a:gd name="connsiteX0" fmla="*/ 64826 w 67361"/>
                  <a:gd name="connsiteY0" fmla="*/ 45485 h 65548"/>
                  <a:gd name="connsiteX1" fmla="*/ 57810 w 67361"/>
                  <a:gd name="connsiteY1" fmla="*/ 55902 h 65548"/>
                  <a:gd name="connsiteX2" fmla="*/ 47120 w 67361"/>
                  <a:gd name="connsiteY2" fmla="*/ 62965 h 65548"/>
                  <a:gd name="connsiteX3" fmla="*/ 33586 w 67361"/>
                  <a:gd name="connsiteY3" fmla="*/ 65548 h 65548"/>
                  <a:gd name="connsiteX4" fmla="*/ 20100 w 67361"/>
                  <a:gd name="connsiteY4" fmla="*/ 62965 h 65548"/>
                  <a:gd name="connsiteX5" fmla="*/ 9457 w 67361"/>
                  <a:gd name="connsiteY5" fmla="*/ 55996 h 65548"/>
                  <a:gd name="connsiteX6" fmla="*/ 2489 w 67361"/>
                  <a:gd name="connsiteY6" fmla="*/ 45674 h 65548"/>
                  <a:gd name="connsiteX7" fmla="*/ 0 w 67361"/>
                  <a:gd name="connsiteY7" fmla="*/ 32958 h 65548"/>
                  <a:gd name="connsiteX8" fmla="*/ 0 w 67361"/>
                  <a:gd name="connsiteY8" fmla="*/ 32780 h 65548"/>
                  <a:gd name="connsiteX9" fmla="*/ 2536 w 67361"/>
                  <a:gd name="connsiteY9" fmla="*/ 20064 h 65548"/>
                  <a:gd name="connsiteX10" fmla="*/ 9552 w 67361"/>
                  <a:gd name="connsiteY10" fmla="*/ 9647 h 65548"/>
                  <a:gd name="connsiteX11" fmla="*/ 20242 w 67361"/>
                  <a:gd name="connsiteY11" fmla="*/ 2584 h 65548"/>
                  <a:gd name="connsiteX12" fmla="*/ 33776 w 67361"/>
                  <a:gd name="connsiteY12" fmla="*/ 0 h 65548"/>
                  <a:gd name="connsiteX13" fmla="*/ 47262 w 67361"/>
                  <a:gd name="connsiteY13" fmla="*/ 2584 h 65548"/>
                  <a:gd name="connsiteX14" fmla="*/ 57905 w 67361"/>
                  <a:gd name="connsiteY14" fmla="*/ 9552 h 65548"/>
                  <a:gd name="connsiteX15" fmla="*/ 64873 w 67361"/>
                  <a:gd name="connsiteY15" fmla="*/ 19874 h 65548"/>
                  <a:gd name="connsiteX16" fmla="*/ 67362 w 67361"/>
                  <a:gd name="connsiteY16" fmla="*/ 32591 h 65548"/>
                  <a:gd name="connsiteX17" fmla="*/ 67362 w 67361"/>
                  <a:gd name="connsiteY17" fmla="*/ 32768 h 65548"/>
                  <a:gd name="connsiteX18" fmla="*/ 64826 w 67361"/>
                  <a:gd name="connsiteY18" fmla="*/ 45496 h 65548"/>
                  <a:gd name="connsiteX19" fmla="*/ 52785 w 67361"/>
                  <a:gd name="connsiteY19" fmla="*/ 32756 h 65548"/>
                  <a:gd name="connsiteX20" fmla="*/ 51387 w 67361"/>
                  <a:gd name="connsiteY20" fmla="*/ 25065 h 65548"/>
                  <a:gd name="connsiteX21" fmla="*/ 47405 w 67361"/>
                  <a:gd name="connsiteY21" fmla="*/ 18725 h 65548"/>
                  <a:gd name="connsiteX22" fmla="*/ 41289 w 67361"/>
                  <a:gd name="connsiteY22" fmla="*/ 14423 h 65548"/>
                  <a:gd name="connsiteX23" fmla="*/ 33598 w 67361"/>
                  <a:gd name="connsiteY23" fmla="*/ 12835 h 65548"/>
                  <a:gd name="connsiteX24" fmla="*/ 25859 w 67361"/>
                  <a:gd name="connsiteY24" fmla="*/ 14375 h 65548"/>
                  <a:gd name="connsiteX25" fmla="*/ 19886 w 67361"/>
                  <a:gd name="connsiteY25" fmla="*/ 18630 h 65548"/>
                  <a:gd name="connsiteX26" fmla="*/ 15987 w 67361"/>
                  <a:gd name="connsiteY26" fmla="*/ 24923 h 65548"/>
                  <a:gd name="connsiteX27" fmla="*/ 14589 w 67361"/>
                  <a:gd name="connsiteY27" fmla="*/ 32579 h 65548"/>
                  <a:gd name="connsiteX28" fmla="*/ 14589 w 67361"/>
                  <a:gd name="connsiteY28" fmla="*/ 32756 h 65548"/>
                  <a:gd name="connsiteX29" fmla="*/ 15987 w 67361"/>
                  <a:gd name="connsiteY29" fmla="*/ 40448 h 65548"/>
                  <a:gd name="connsiteX30" fmla="*/ 19969 w 67361"/>
                  <a:gd name="connsiteY30" fmla="*/ 46788 h 65548"/>
                  <a:gd name="connsiteX31" fmla="*/ 26037 w 67361"/>
                  <a:gd name="connsiteY31" fmla="*/ 51090 h 65548"/>
                  <a:gd name="connsiteX32" fmla="*/ 33776 w 67361"/>
                  <a:gd name="connsiteY32" fmla="*/ 52678 h 65548"/>
                  <a:gd name="connsiteX33" fmla="*/ 41467 w 67361"/>
                  <a:gd name="connsiteY33" fmla="*/ 51138 h 65548"/>
                  <a:gd name="connsiteX34" fmla="*/ 47487 w 67361"/>
                  <a:gd name="connsiteY34" fmla="*/ 46883 h 65548"/>
                  <a:gd name="connsiteX35" fmla="*/ 51387 w 67361"/>
                  <a:gd name="connsiteY35" fmla="*/ 40590 h 65548"/>
                  <a:gd name="connsiteX36" fmla="*/ 52785 w 67361"/>
                  <a:gd name="connsiteY36" fmla="*/ 32934 h 65548"/>
                  <a:gd name="connsiteX37" fmla="*/ 52785 w 67361"/>
                  <a:gd name="connsiteY37" fmla="*/ 32756 h 65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7361" h="65548">
                    <a:moveTo>
                      <a:pt x="64826" y="45485"/>
                    </a:moveTo>
                    <a:cubicBezTo>
                      <a:pt x="63131" y="49443"/>
                      <a:pt x="60796" y="52903"/>
                      <a:pt x="57810" y="55902"/>
                    </a:cubicBezTo>
                    <a:cubicBezTo>
                      <a:pt x="54823" y="58900"/>
                      <a:pt x="51256" y="61247"/>
                      <a:pt x="47120" y="62965"/>
                    </a:cubicBezTo>
                    <a:cubicBezTo>
                      <a:pt x="42984" y="64683"/>
                      <a:pt x="38469" y="65548"/>
                      <a:pt x="33586" y="65548"/>
                    </a:cubicBezTo>
                    <a:cubicBezTo>
                      <a:pt x="28703" y="65548"/>
                      <a:pt x="24200" y="64683"/>
                      <a:pt x="20100" y="62965"/>
                    </a:cubicBezTo>
                    <a:cubicBezTo>
                      <a:pt x="15999" y="61247"/>
                      <a:pt x="12444" y="58924"/>
                      <a:pt x="9457" y="55996"/>
                    </a:cubicBezTo>
                    <a:cubicBezTo>
                      <a:pt x="6471" y="53069"/>
                      <a:pt x="4148" y="49632"/>
                      <a:pt x="2489" y="45674"/>
                    </a:cubicBezTo>
                    <a:cubicBezTo>
                      <a:pt x="830" y="41716"/>
                      <a:pt x="0" y="37485"/>
                      <a:pt x="0" y="32958"/>
                    </a:cubicBezTo>
                    <a:lnTo>
                      <a:pt x="0" y="32780"/>
                    </a:lnTo>
                    <a:cubicBezTo>
                      <a:pt x="0" y="28253"/>
                      <a:pt x="841" y="24010"/>
                      <a:pt x="2536" y="20064"/>
                    </a:cubicBezTo>
                    <a:cubicBezTo>
                      <a:pt x="4231" y="16118"/>
                      <a:pt x="6566" y="12645"/>
                      <a:pt x="9552" y="9647"/>
                    </a:cubicBezTo>
                    <a:cubicBezTo>
                      <a:pt x="12539" y="6660"/>
                      <a:pt x="16106" y="4302"/>
                      <a:pt x="20242" y="2584"/>
                    </a:cubicBezTo>
                    <a:cubicBezTo>
                      <a:pt x="24378" y="865"/>
                      <a:pt x="28893" y="0"/>
                      <a:pt x="33776" y="0"/>
                    </a:cubicBezTo>
                    <a:cubicBezTo>
                      <a:pt x="38658" y="0"/>
                      <a:pt x="43162" y="865"/>
                      <a:pt x="47262" y="2584"/>
                    </a:cubicBezTo>
                    <a:cubicBezTo>
                      <a:pt x="51363" y="4302"/>
                      <a:pt x="54918" y="6625"/>
                      <a:pt x="57905" y="9552"/>
                    </a:cubicBezTo>
                    <a:cubicBezTo>
                      <a:pt x="60891" y="12479"/>
                      <a:pt x="63214" y="15916"/>
                      <a:pt x="64873" y="19874"/>
                    </a:cubicBezTo>
                    <a:cubicBezTo>
                      <a:pt x="66532" y="23833"/>
                      <a:pt x="67362" y="28063"/>
                      <a:pt x="67362" y="32591"/>
                    </a:cubicBezTo>
                    <a:lnTo>
                      <a:pt x="67362" y="32768"/>
                    </a:lnTo>
                    <a:cubicBezTo>
                      <a:pt x="67362" y="37295"/>
                      <a:pt x="66520" y="41538"/>
                      <a:pt x="64826" y="45496"/>
                    </a:cubicBezTo>
                    <a:close/>
                    <a:moveTo>
                      <a:pt x="52785" y="32756"/>
                    </a:moveTo>
                    <a:cubicBezTo>
                      <a:pt x="52785" y="30043"/>
                      <a:pt x="52323" y="27471"/>
                      <a:pt x="51387" y="25065"/>
                    </a:cubicBezTo>
                    <a:cubicBezTo>
                      <a:pt x="50450" y="22647"/>
                      <a:pt x="49123" y="20538"/>
                      <a:pt x="47405" y="18725"/>
                    </a:cubicBezTo>
                    <a:cubicBezTo>
                      <a:pt x="45686" y="16912"/>
                      <a:pt x="43648" y="15478"/>
                      <a:pt x="41289" y="14423"/>
                    </a:cubicBezTo>
                    <a:cubicBezTo>
                      <a:pt x="38931" y="13368"/>
                      <a:pt x="36371" y="12835"/>
                      <a:pt x="33598" y="12835"/>
                    </a:cubicBezTo>
                    <a:cubicBezTo>
                      <a:pt x="30825" y="12835"/>
                      <a:pt x="28182" y="13344"/>
                      <a:pt x="25859" y="14375"/>
                    </a:cubicBezTo>
                    <a:cubicBezTo>
                      <a:pt x="23536" y="15406"/>
                      <a:pt x="21545" y="16817"/>
                      <a:pt x="19886" y="18630"/>
                    </a:cubicBezTo>
                    <a:cubicBezTo>
                      <a:pt x="18227" y="20443"/>
                      <a:pt x="16923" y="22541"/>
                      <a:pt x="15987" y="24923"/>
                    </a:cubicBezTo>
                    <a:cubicBezTo>
                      <a:pt x="15051" y="27305"/>
                      <a:pt x="14589" y="29853"/>
                      <a:pt x="14589" y="32579"/>
                    </a:cubicBezTo>
                    <a:lnTo>
                      <a:pt x="14589" y="32756"/>
                    </a:lnTo>
                    <a:cubicBezTo>
                      <a:pt x="14589" y="35470"/>
                      <a:pt x="15051" y="38042"/>
                      <a:pt x="15987" y="40448"/>
                    </a:cubicBezTo>
                    <a:cubicBezTo>
                      <a:pt x="16923" y="42865"/>
                      <a:pt x="18251" y="44975"/>
                      <a:pt x="19969" y="46788"/>
                    </a:cubicBezTo>
                    <a:cubicBezTo>
                      <a:pt x="21688" y="48601"/>
                      <a:pt x="23714" y="50035"/>
                      <a:pt x="26037" y="51090"/>
                    </a:cubicBezTo>
                    <a:cubicBezTo>
                      <a:pt x="28360" y="52145"/>
                      <a:pt x="30943" y="52678"/>
                      <a:pt x="33776" y="52678"/>
                    </a:cubicBezTo>
                    <a:cubicBezTo>
                      <a:pt x="36608" y="52678"/>
                      <a:pt x="39121" y="52169"/>
                      <a:pt x="41467" y="51138"/>
                    </a:cubicBezTo>
                    <a:cubicBezTo>
                      <a:pt x="43825" y="50106"/>
                      <a:pt x="45828" y="48696"/>
                      <a:pt x="47487" y="46883"/>
                    </a:cubicBezTo>
                    <a:cubicBezTo>
                      <a:pt x="49147" y="45070"/>
                      <a:pt x="50450" y="42972"/>
                      <a:pt x="51387" y="40590"/>
                    </a:cubicBezTo>
                    <a:cubicBezTo>
                      <a:pt x="52323" y="38208"/>
                      <a:pt x="52785" y="35660"/>
                      <a:pt x="52785" y="32934"/>
                    </a:cubicBezTo>
                    <a:lnTo>
                      <a:pt x="52785" y="32756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C96E6CBC-946A-50B8-F887-51CA2C85C615}"/>
                  </a:ext>
                </a:extLst>
              </p:cNvPr>
              <p:cNvSpPr/>
              <p:nvPr/>
            </p:nvSpPr>
            <p:spPr>
              <a:xfrm>
                <a:off x="1692871" y="6591709"/>
                <a:ext cx="63379" cy="63391"/>
              </a:xfrm>
              <a:custGeom>
                <a:avLst/>
                <a:gdLst>
                  <a:gd name="connsiteX0" fmla="*/ 49621 w 63379"/>
                  <a:gd name="connsiteY0" fmla="*/ 63392 h 63391"/>
                  <a:gd name="connsiteX1" fmla="*/ 49621 w 63379"/>
                  <a:gd name="connsiteY1" fmla="*/ 22008 h 63391"/>
                  <a:gd name="connsiteX2" fmla="*/ 31785 w 63379"/>
                  <a:gd name="connsiteY2" fmla="*/ 49075 h 63391"/>
                  <a:gd name="connsiteX3" fmla="*/ 31417 w 63379"/>
                  <a:gd name="connsiteY3" fmla="*/ 49075 h 63391"/>
                  <a:gd name="connsiteX4" fmla="*/ 13759 w 63379"/>
                  <a:gd name="connsiteY4" fmla="*/ 22268 h 63391"/>
                  <a:gd name="connsiteX5" fmla="*/ 13759 w 63379"/>
                  <a:gd name="connsiteY5" fmla="*/ 63380 h 63391"/>
                  <a:gd name="connsiteX6" fmla="*/ 0 w 63379"/>
                  <a:gd name="connsiteY6" fmla="*/ 63380 h 63391"/>
                  <a:gd name="connsiteX7" fmla="*/ 0 w 63379"/>
                  <a:gd name="connsiteY7" fmla="*/ 0 h 63391"/>
                  <a:gd name="connsiteX8" fmla="*/ 15027 w 63379"/>
                  <a:gd name="connsiteY8" fmla="*/ 0 h 63391"/>
                  <a:gd name="connsiteX9" fmla="*/ 31690 w 63379"/>
                  <a:gd name="connsiteY9" fmla="*/ 26807 h 63391"/>
                  <a:gd name="connsiteX10" fmla="*/ 48353 w 63379"/>
                  <a:gd name="connsiteY10" fmla="*/ 0 h 63391"/>
                  <a:gd name="connsiteX11" fmla="*/ 63380 w 63379"/>
                  <a:gd name="connsiteY11" fmla="*/ 0 h 63391"/>
                  <a:gd name="connsiteX12" fmla="*/ 63380 w 63379"/>
                  <a:gd name="connsiteY12" fmla="*/ 63380 h 63391"/>
                  <a:gd name="connsiteX13" fmla="*/ 49621 w 63379"/>
                  <a:gd name="connsiteY13" fmla="*/ 63380 h 63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3379" h="63391">
                    <a:moveTo>
                      <a:pt x="49621" y="63392"/>
                    </a:moveTo>
                    <a:lnTo>
                      <a:pt x="49621" y="22008"/>
                    </a:lnTo>
                    <a:lnTo>
                      <a:pt x="31785" y="49075"/>
                    </a:lnTo>
                    <a:lnTo>
                      <a:pt x="31417" y="49075"/>
                    </a:lnTo>
                    <a:lnTo>
                      <a:pt x="13759" y="22268"/>
                    </a:lnTo>
                    <a:lnTo>
                      <a:pt x="13759" y="63380"/>
                    </a:lnTo>
                    <a:lnTo>
                      <a:pt x="0" y="63380"/>
                    </a:lnTo>
                    <a:lnTo>
                      <a:pt x="0" y="0"/>
                    </a:lnTo>
                    <a:lnTo>
                      <a:pt x="15027" y="0"/>
                    </a:lnTo>
                    <a:lnTo>
                      <a:pt x="31690" y="26807"/>
                    </a:lnTo>
                    <a:lnTo>
                      <a:pt x="48353" y="0"/>
                    </a:lnTo>
                    <a:lnTo>
                      <a:pt x="63380" y="0"/>
                    </a:lnTo>
                    <a:lnTo>
                      <a:pt x="63380" y="63380"/>
                    </a:lnTo>
                    <a:lnTo>
                      <a:pt x="49621" y="63380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50B944A5-C620-66F0-85B4-9A875BB87699}"/>
                  </a:ext>
                </a:extLst>
              </p:cNvPr>
              <p:cNvSpPr/>
              <p:nvPr/>
            </p:nvSpPr>
            <p:spPr>
              <a:xfrm>
                <a:off x="1768671" y="6590654"/>
                <a:ext cx="67361" cy="65548"/>
              </a:xfrm>
              <a:custGeom>
                <a:avLst/>
                <a:gdLst>
                  <a:gd name="connsiteX0" fmla="*/ 64826 w 67361"/>
                  <a:gd name="connsiteY0" fmla="*/ 45485 h 65548"/>
                  <a:gd name="connsiteX1" fmla="*/ 57810 w 67361"/>
                  <a:gd name="connsiteY1" fmla="*/ 55902 h 65548"/>
                  <a:gd name="connsiteX2" fmla="*/ 47120 w 67361"/>
                  <a:gd name="connsiteY2" fmla="*/ 62965 h 65548"/>
                  <a:gd name="connsiteX3" fmla="*/ 33586 w 67361"/>
                  <a:gd name="connsiteY3" fmla="*/ 65548 h 65548"/>
                  <a:gd name="connsiteX4" fmla="*/ 20100 w 67361"/>
                  <a:gd name="connsiteY4" fmla="*/ 62965 h 65548"/>
                  <a:gd name="connsiteX5" fmla="*/ 9457 w 67361"/>
                  <a:gd name="connsiteY5" fmla="*/ 55996 h 65548"/>
                  <a:gd name="connsiteX6" fmla="*/ 2489 w 67361"/>
                  <a:gd name="connsiteY6" fmla="*/ 45674 h 65548"/>
                  <a:gd name="connsiteX7" fmla="*/ 0 w 67361"/>
                  <a:gd name="connsiteY7" fmla="*/ 32958 h 65548"/>
                  <a:gd name="connsiteX8" fmla="*/ 0 w 67361"/>
                  <a:gd name="connsiteY8" fmla="*/ 32780 h 65548"/>
                  <a:gd name="connsiteX9" fmla="*/ 2536 w 67361"/>
                  <a:gd name="connsiteY9" fmla="*/ 20064 h 65548"/>
                  <a:gd name="connsiteX10" fmla="*/ 9552 w 67361"/>
                  <a:gd name="connsiteY10" fmla="*/ 9647 h 65548"/>
                  <a:gd name="connsiteX11" fmla="*/ 20242 w 67361"/>
                  <a:gd name="connsiteY11" fmla="*/ 2584 h 65548"/>
                  <a:gd name="connsiteX12" fmla="*/ 33776 w 67361"/>
                  <a:gd name="connsiteY12" fmla="*/ 0 h 65548"/>
                  <a:gd name="connsiteX13" fmla="*/ 47262 w 67361"/>
                  <a:gd name="connsiteY13" fmla="*/ 2584 h 65548"/>
                  <a:gd name="connsiteX14" fmla="*/ 57905 w 67361"/>
                  <a:gd name="connsiteY14" fmla="*/ 9552 h 65548"/>
                  <a:gd name="connsiteX15" fmla="*/ 64873 w 67361"/>
                  <a:gd name="connsiteY15" fmla="*/ 19874 h 65548"/>
                  <a:gd name="connsiteX16" fmla="*/ 67362 w 67361"/>
                  <a:gd name="connsiteY16" fmla="*/ 32591 h 65548"/>
                  <a:gd name="connsiteX17" fmla="*/ 67362 w 67361"/>
                  <a:gd name="connsiteY17" fmla="*/ 32768 h 65548"/>
                  <a:gd name="connsiteX18" fmla="*/ 64826 w 67361"/>
                  <a:gd name="connsiteY18" fmla="*/ 45496 h 65548"/>
                  <a:gd name="connsiteX19" fmla="*/ 52785 w 67361"/>
                  <a:gd name="connsiteY19" fmla="*/ 32756 h 65548"/>
                  <a:gd name="connsiteX20" fmla="*/ 51387 w 67361"/>
                  <a:gd name="connsiteY20" fmla="*/ 25065 h 65548"/>
                  <a:gd name="connsiteX21" fmla="*/ 47405 w 67361"/>
                  <a:gd name="connsiteY21" fmla="*/ 18725 h 65548"/>
                  <a:gd name="connsiteX22" fmla="*/ 41289 w 67361"/>
                  <a:gd name="connsiteY22" fmla="*/ 14423 h 65548"/>
                  <a:gd name="connsiteX23" fmla="*/ 33598 w 67361"/>
                  <a:gd name="connsiteY23" fmla="*/ 12835 h 65548"/>
                  <a:gd name="connsiteX24" fmla="*/ 25859 w 67361"/>
                  <a:gd name="connsiteY24" fmla="*/ 14375 h 65548"/>
                  <a:gd name="connsiteX25" fmla="*/ 19886 w 67361"/>
                  <a:gd name="connsiteY25" fmla="*/ 18630 h 65548"/>
                  <a:gd name="connsiteX26" fmla="*/ 15987 w 67361"/>
                  <a:gd name="connsiteY26" fmla="*/ 24923 h 65548"/>
                  <a:gd name="connsiteX27" fmla="*/ 14589 w 67361"/>
                  <a:gd name="connsiteY27" fmla="*/ 32579 h 65548"/>
                  <a:gd name="connsiteX28" fmla="*/ 14589 w 67361"/>
                  <a:gd name="connsiteY28" fmla="*/ 32756 h 65548"/>
                  <a:gd name="connsiteX29" fmla="*/ 15987 w 67361"/>
                  <a:gd name="connsiteY29" fmla="*/ 40448 h 65548"/>
                  <a:gd name="connsiteX30" fmla="*/ 19969 w 67361"/>
                  <a:gd name="connsiteY30" fmla="*/ 46788 h 65548"/>
                  <a:gd name="connsiteX31" fmla="*/ 26037 w 67361"/>
                  <a:gd name="connsiteY31" fmla="*/ 51090 h 65548"/>
                  <a:gd name="connsiteX32" fmla="*/ 33776 w 67361"/>
                  <a:gd name="connsiteY32" fmla="*/ 52678 h 65548"/>
                  <a:gd name="connsiteX33" fmla="*/ 41467 w 67361"/>
                  <a:gd name="connsiteY33" fmla="*/ 51138 h 65548"/>
                  <a:gd name="connsiteX34" fmla="*/ 47488 w 67361"/>
                  <a:gd name="connsiteY34" fmla="*/ 46883 h 65548"/>
                  <a:gd name="connsiteX35" fmla="*/ 51387 w 67361"/>
                  <a:gd name="connsiteY35" fmla="*/ 40590 h 65548"/>
                  <a:gd name="connsiteX36" fmla="*/ 52785 w 67361"/>
                  <a:gd name="connsiteY36" fmla="*/ 32934 h 65548"/>
                  <a:gd name="connsiteX37" fmla="*/ 52785 w 67361"/>
                  <a:gd name="connsiteY37" fmla="*/ 32756 h 65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7361" h="65548">
                    <a:moveTo>
                      <a:pt x="64826" y="45485"/>
                    </a:moveTo>
                    <a:cubicBezTo>
                      <a:pt x="63131" y="49443"/>
                      <a:pt x="60796" y="52903"/>
                      <a:pt x="57810" y="55902"/>
                    </a:cubicBezTo>
                    <a:cubicBezTo>
                      <a:pt x="54823" y="58900"/>
                      <a:pt x="51256" y="61247"/>
                      <a:pt x="47120" y="62965"/>
                    </a:cubicBezTo>
                    <a:cubicBezTo>
                      <a:pt x="42984" y="64683"/>
                      <a:pt x="38469" y="65548"/>
                      <a:pt x="33586" y="65548"/>
                    </a:cubicBezTo>
                    <a:cubicBezTo>
                      <a:pt x="28703" y="65548"/>
                      <a:pt x="24200" y="64683"/>
                      <a:pt x="20100" y="62965"/>
                    </a:cubicBezTo>
                    <a:cubicBezTo>
                      <a:pt x="15999" y="61247"/>
                      <a:pt x="12444" y="58924"/>
                      <a:pt x="9457" y="55996"/>
                    </a:cubicBezTo>
                    <a:cubicBezTo>
                      <a:pt x="6471" y="53069"/>
                      <a:pt x="4148" y="49632"/>
                      <a:pt x="2489" y="45674"/>
                    </a:cubicBezTo>
                    <a:cubicBezTo>
                      <a:pt x="830" y="41716"/>
                      <a:pt x="0" y="37485"/>
                      <a:pt x="0" y="32958"/>
                    </a:cubicBezTo>
                    <a:lnTo>
                      <a:pt x="0" y="32780"/>
                    </a:lnTo>
                    <a:cubicBezTo>
                      <a:pt x="0" y="28253"/>
                      <a:pt x="841" y="24010"/>
                      <a:pt x="2536" y="20064"/>
                    </a:cubicBezTo>
                    <a:cubicBezTo>
                      <a:pt x="4231" y="16118"/>
                      <a:pt x="6566" y="12645"/>
                      <a:pt x="9552" y="9647"/>
                    </a:cubicBezTo>
                    <a:cubicBezTo>
                      <a:pt x="12539" y="6660"/>
                      <a:pt x="16106" y="4302"/>
                      <a:pt x="20242" y="2584"/>
                    </a:cubicBezTo>
                    <a:cubicBezTo>
                      <a:pt x="24378" y="865"/>
                      <a:pt x="28893" y="0"/>
                      <a:pt x="33776" y="0"/>
                    </a:cubicBezTo>
                    <a:cubicBezTo>
                      <a:pt x="38658" y="0"/>
                      <a:pt x="43162" y="865"/>
                      <a:pt x="47262" y="2584"/>
                    </a:cubicBezTo>
                    <a:cubicBezTo>
                      <a:pt x="51363" y="4302"/>
                      <a:pt x="54918" y="6625"/>
                      <a:pt x="57905" y="9552"/>
                    </a:cubicBezTo>
                    <a:cubicBezTo>
                      <a:pt x="60891" y="12479"/>
                      <a:pt x="63214" y="15916"/>
                      <a:pt x="64873" y="19874"/>
                    </a:cubicBezTo>
                    <a:cubicBezTo>
                      <a:pt x="66532" y="23833"/>
                      <a:pt x="67362" y="28063"/>
                      <a:pt x="67362" y="32591"/>
                    </a:cubicBezTo>
                    <a:lnTo>
                      <a:pt x="67362" y="32768"/>
                    </a:lnTo>
                    <a:cubicBezTo>
                      <a:pt x="67362" y="37295"/>
                      <a:pt x="66520" y="41538"/>
                      <a:pt x="64826" y="45496"/>
                    </a:cubicBezTo>
                    <a:close/>
                    <a:moveTo>
                      <a:pt x="52785" y="32756"/>
                    </a:moveTo>
                    <a:cubicBezTo>
                      <a:pt x="52785" y="30043"/>
                      <a:pt x="52323" y="27471"/>
                      <a:pt x="51387" y="25065"/>
                    </a:cubicBezTo>
                    <a:cubicBezTo>
                      <a:pt x="50450" y="22647"/>
                      <a:pt x="49123" y="20538"/>
                      <a:pt x="47405" y="18725"/>
                    </a:cubicBezTo>
                    <a:cubicBezTo>
                      <a:pt x="45686" y="16912"/>
                      <a:pt x="43648" y="15478"/>
                      <a:pt x="41289" y="14423"/>
                    </a:cubicBezTo>
                    <a:cubicBezTo>
                      <a:pt x="38931" y="13368"/>
                      <a:pt x="36371" y="12835"/>
                      <a:pt x="33598" y="12835"/>
                    </a:cubicBezTo>
                    <a:cubicBezTo>
                      <a:pt x="30825" y="12835"/>
                      <a:pt x="28182" y="13344"/>
                      <a:pt x="25859" y="14375"/>
                    </a:cubicBezTo>
                    <a:cubicBezTo>
                      <a:pt x="23536" y="15406"/>
                      <a:pt x="21545" y="16817"/>
                      <a:pt x="19886" y="18630"/>
                    </a:cubicBezTo>
                    <a:cubicBezTo>
                      <a:pt x="18227" y="20443"/>
                      <a:pt x="16923" y="22541"/>
                      <a:pt x="15987" y="24923"/>
                    </a:cubicBezTo>
                    <a:cubicBezTo>
                      <a:pt x="15051" y="27305"/>
                      <a:pt x="14589" y="29853"/>
                      <a:pt x="14589" y="32579"/>
                    </a:cubicBezTo>
                    <a:lnTo>
                      <a:pt x="14589" y="32756"/>
                    </a:lnTo>
                    <a:cubicBezTo>
                      <a:pt x="14589" y="35470"/>
                      <a:pt x="15051" y="38042"/>
                      <a:pt x="15987" y="40448"/>
                    </a:cubicBezTo>
                    <a:cubicBezTo>
                      <a:pt x="16923" y="42865"/>
                      <a:pt x="18251" y="44975"/>
                      <a:pt x="19969" y="46788"/>
                    </a:cubicBezTo>
                    <a:cubicBezTo>
                      <a:pt x="21688" y="48601"/>
                      <a:pt x="23714" y="50035"/>
                      <a:pt x="26037" y="51090"/>
                    </a:cubicBezTo>
                    <a:cubicBezTo>
                      <a:pt x="28360" y="52145"/>
                      <a:pt x="30943" y="52678"/>
                      <a:pt x="33776" y="52678"/>
                    </a:cubicBezTo>
                    <a:cubicBezTo>
                      <a:pt x="36608" y="52678"/>
                      <a:pt x="39121" y="52169"/>
                      <a:pt x="41467" y="51138"/>
                    </a:cubicBezTo>
                    <a:cubicBezTo>
                      <a:pt x="43826" y="50106"/>
                      <a:pt x="45828" y="48696"/>
                      <a:pt x="47488" y="46883"/>
                    </a:cubicBezTo>
                    <a:cubicBezTo>
                      <a:pt x="49147" y="45070"/>
                      <a:pt x="50450" y="42972"/>
                      <a:pt x="51387" y="40590"/>
                    </a:cubicBezTo>
                    <a:cubicBezTo>
                      <a:pt x="52323" y="38208"/>
                      <a:pt x="52785" y="35660"/>
                      <a:pt x="52785" y="32934"/>
                    </a:cubicBezTo>
                    <a:lnTo>
                      <a:pt x="52785" y="32756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244BEE11-0F7F-4C07-F4CE-FD770551B575}"/>
                  </a:ext>
                </a:extLst>
              </p:cNvPr>
              <p:cNvSpPr/>
              <p:nvPr/>
            </p:nvSpPr>
            <p:spPr>
              <a:xfrm>
                <a:off x="1976552" y="6590654"/>
                <a:ext cx="67361" cy="65548"/>
              </a:xfrm>
              <a:custGeom>
                <a:avLst/>
                <a:gdLst>
                  <a:gd name="connsiteX0" fmla="*/ 64826 w 67361"/>
                  <a:gd name="connsiteY0" fmla="*/ 45485 h 65548"/>
                  <a:gd name="connsiteX1" fmla="*/ 57810 w 67361"/>
                  <a:gd name="connsiteY1" fmla="*/ 55902 h 65548"/>
                  <a:gd name="connsiteX2" fmla="*/ 47120 w 67361"/>
                  <a:gd name="connsiteY2" fmla="*/ 62965 h 65548"/>
                  <a:gd name="connsiteX3" fmla="*/ 33586 w 67361"/>
                  <a:gd name="connsiteY3" fmla="*/ 65548 h 65548"/>
                  <a:gd name="connsiteX4" fmla="*/ 20099 w 67361"/>
                  <a:gd name="connsiteY4" fmla="*/ 62965 h 65548"/>
                  <a:gd name="connsiteX5" fmla="*/ 9457 w 67361"/>
                  <a:gd name="connsiteY5" fmla="*/ 55996 h 65548"/>
                  <a:gd name="connsiteX6" fmla="*/ 2489 w 67361"/>
                  <a:gd name="connsiteY6" fmla="*/ 45674 h 65548"/>
                  <a:gd name="connsiteX7" fmla="*/ 0 w 67361"/>
                  <a:gd name="connsiteY7" fmla="*/ 32958 h 65548"/>
                  <a:gd name="connsiteX8" fmla="*/ 0 w 67361"/>
                  <a:gd name="connsiteY8" fmla="*/ 32780 h 65548"/>
                  <a:gd name="connsiteX9" fmla="*/ 2536 w 67361"/>
                  <a:gd name="connsiteY9" fmla="*/ 20064 h 65548"/>
                  <a:gd name="connsiteX10" fmla="*/ 9552 w 67361"/>
                  <a:gd name="connsiteY10" fmla="*/ 9647 h 65548"/>
                  <a:gd name="connsiteX11" fmla="*/ 20242 w 67361"/>
                  <a:gd name="connsiteY11" fmla="*/ 2584 h 65548"/>
                  <a:gd name="connsiteX12" fmla="*/ 33776 w 67361"/>
                  <a:gd name="connsiteY12" fmla="*/ 0 h 65548"/>
                  <a:gd name="connsiteX13" fmla="*/ 47262 w 67361"/>
                  <a:gd name="connsiteY13" fmla="*/ 2584 h 65548"/>
                  <a:gd name="connsiteX14" fmla="*/ 57905 w 67361"/>
                  <a:gd name="connsiteY14" fmla="*/ 9552 h 65548"/>
                  <a:gd name="connsiteX15" fmla="*/ 64873 w 67361"/>
                  <a:gd name="connsiteY15" fmla="*/ 19874 h 65548"/>
                  <a:gd name="connsiteX16" fmla="*/ 67362 w 67361"/>
                  <a:gd name="connsiteY16" fmla="*/ 32591 h 65548"/>
                  <a:gd name="connsiteX17" fmla="*/ 67362 w 67361"/>
                  <a:gd name="connsiteY17" fmla="*/ 32768 h 65548"/>
                  <a:gd name="connsiteX18" fmla="*/ 64826 w 67361"/>
                  <a:gd name="connsiteY18" fmla="*/ 45496 h 65548"/>
                  <a:gd name="connsiteX19" fmla="*/ 52785 w 67361"/>
                  <a:gd name="connsiteY19" fmla="*/ 32756 h 65548"/>
                  <a:gd name="connsiteX20" fmla="*/ 51387 w 67361"/>
                  <a:gd name="connsiteY20" fmla="*/ 25065 h 65548"/>
                  <a:gd name="connsiteX21" fmla="*/ 47405 w 67361"/>
                  <a:gd name="connsiteY21" fmla="*/ 18725 h 65548"/>
                  <a:gd name="connsiteX22" fmla="*/ 41289 w 67361"/>
                  <a:gd name="connsiteY22" fmla="*/ 14423 h 65548"/>
                  <a:gd name="connsiteX23" fmla="*/ 33598 w 67361"/>
                  <a:gd name="connsiteY23" fmla="*/ 12835 h 65548"/>
                  <a:gd name="connsiteX24" fmla="*/ 25859 w 67361"/>
                  <a:gd name="connsiteY24" fmla="*/ 14375 h 65548"/>
                  <a:gd name="connsiteX25" fmla="*/ 19886 w 67361"/>
                  <a:gd name="connsiteY25" fmla="*/ 18630 h 65548"/>
                  <a:gd name="connsiteX26" fmla="*/ 15987 w 67361"/>
                  <a:gd name="connsiteY26" fmla="*/ 24923 h 65548"/>
                  <a:gd name="connsiteX27" fmla="*/ 14589 w 67361"/>
                  <a:gd name="connsiteY27" fmla="*/ 32579 h 65548"/>
                  <a:gd name="connsiteX28" fmla="*/ 14589 w 67361"/>
                  <a:gd name="connsiteY28" fmla="*/ 32756 h 65548"/>
                  <a:gd name="connsiteX29" fmla="*/ 15987 w 67361"/>
                  <a:gd name="connsiteY29" fmla="*/ 40448 h 65548"/>
                  <a:gd name="connsiteX30" fmla="*/ 19969 w 67361"/>
                  <a:gd name="connsiteY30" fmla="*/ 46788 h 65548"/>
                  <a:gd name="connsiteX31" fmla="*/ 26037 w 67361"/>
                  <a:gd name="connsiteY31" fmla="*/ 51090 h 65548"/>
                  <a:gd name="connsiteX32" fmla="*/ 33776 w 67361"/>
                  <a:gd name="connsiteY32" fmla="*/ 52678 h 65548"/>
                  <a:gd name="connsiteX33" fmla="*/ 41467 w 67361"/>
                  <a:gd name="connsiteY33" fmla="*/ 51138 h 65548"/>
                  <a:gd name="connsiteX34" fmla="*/ 47487 w 67361"/>
                  <a:gd name="connsiteY34" fmla="*/ 46883 h 65548"/>
                  <a:gd name="connsiteX35" fmla="*/ 51387 w 67361"/>
                  <a:gd name="connsiteY35" fmla="*/ 40590 h 65548"/>
                  <a:gd name="connsiteX36" fmla="*/ 52785 w 67361"/>
                  <a:gd name="connsiteY36" fmla="*/ 32934 h 65548"/>
                  <a:gd name="connsiteX37" fmla="*/ 52785 w 67361"/>
                  <a:gd name="connsiteY37" fmla="*/ 32756 h 65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7361" h="65548">
                    <a:moveTo>
                      <a:pt x="64826" y="45485"/>
                    </a:moveTo>
                    <a:cubicBezTo>
                      <a:pt x="63131" y="49443"/>
                      <a:pt x="60796" y="52903"/>
                      <a:pt x="57810" y="55902"/>
                    </a:cubicBezTo>
                    <a:cubicBezTo>
                      <a:pt x="54823" y="58900"/>
                      <a:pt x="51256" y="61247"/>
                      <a:pt x="47120" y="62965"/>
                    </a:cubicBezTo>
                    <a:cubicBezTo>
                      <a:pt x="42984" y="64683"/>
                      <a:pt x="38469" y="65548"/>
                      <a:pt x="33586" y="65548"/>
                    </a:cubicBezTo>
                    <a:cubicBezTo>
                      <a:pt x="28703" y="65548"/>
                      <a:pt x="24200" y="64683"/>
                      <a:pt x="20099" y="62965"/>
                    </a:cubicBezTo>
                    <a:cubicBezTo>
                      <a:pt x="15999" y="61247"/>
                      <a:pt x="12444" y="58924"/>
                      <a:pt x="9457" y="55996"/>
                    </a:cubicBezTo>
                    <a:cubicBezTo>
                      <a:pt x="6471" y="53069"/>
                      <a:pt x="4148" y="49632"/>
                      <a:pt x="2489" y="45674"/>
                    </a:cubicBezTo>
                    <a:cubicBezTo>
                      <a:pt x="830" y="41716"/>
                      <a:pt x="0" y="37485"/>
                      <a:pt x="0" y="32958"/>
                    </a:cubicBezTo>
                    <a:lnTo>
                      <a:pt x="0" y="32780"/>
                    </a:lnTo>
                    <a:cubicBezTo>
                      <a:pt x="0" y="28253"/>
                      <a:pt x="841" y="24010"/>
                      <a:pt x="2536" y="20064"/>
                    </a:cubicBezTo>
                    <a:cubicBezTo>
                      <a:pt x="4231" y="16118"/>
                      <a:pt x="6566" y="12645"/>
                      <a:pt x="9552" y="9647"/>
                    </a:cubicBezTo>
                    <a:cubicBezTo>
                      <a:pt x="12538" y="6660"/>
                      <a:pt x="16106" y="4302"/>
                      <a:pt x="20242" y="2584"/>
                    </a:cubicBezTo>
                    <a:cubicBezTo>
                      <a:pt x="24378" y="865"/>
                      <a:pt x="28893" y="0"/>
                      <a:pt x="33776" y="0"/>
                    </a:cubicBezTo>
                    <a:cubicBezTo>
                      <a:pt x="38658" y="0"/>
                      <a:pt x="43162" y="865"/>
                      <a:pt x="47262" y="2584"/>
                    </a:cubicBezTo>
                    <a:cubicBezTo>
                      <a:pt x="51363" y="4302"/>
                      <a:pt x="54918" y="6625"/>
                      <a:pt x="57905" y="9552"/>
                    </a:cubicBezTo>
                    <a:cubicBezTo>
                      <a:pt x="60891" y="12479"/>
                      <a:pt x="63214" y="15916"/>
                      <a:pt x="64873" y="19874"/>
                    </a:cubicBezTo>
                    <a:cubicBezTo>
                      <a:pt x="66532" y="23833"/>
                      <a:pt x="67362" y="28063"/>
                      <a:pt x="67362" y="32591"/>
                    </a:cubicBezTo>
                    <a:lnTo>
                      <a:pt x="67362" y="32768"/>
                    </a:lnTo>
                    <a:cubicBezTo>
                      <a:pt x="67362" y="37295"/>
                      <a:pt x="66520" y="41538"/>
                      <a:pt x="64826" y="45496"/>
                    </a:cubicBezTo>
                    <a:close/>
                    <a:moveTo>
                      <a:pt x="52785" y="32756"/>
                    </a:moveTo>
                    <a:cubicBezTo>
                      <a:pt x="52785" y="30043"/>
                      <a:pt x="52323" y="27471"/>
                      <a:pt x="51387" y="25065"/>
                    </a:cubicBezTo>
                    <a:cubicBezTo>
                      <a:pt x="50450" y="22647"/>
                      <a:pt x="49123" y="20538"/>
                      <a:pt x="47405" y="18725"/>
                    </a:cubicBezTo>
                    <a:cubicBezTo>
                      <a:pt x="45686" y="16912"/>
                      <a:pt x="43648" y="15478"/>
                      <a:pt x="41289" y="14423"/>
                    </a:cubicBezTo>
                    <a:cubicBezTo>
                      <a:pt x="38931" y="13368"/>
                      <a:pt x="36371" y="12835"/>
                      <a:pt x="33598" y="12835"/>
                    </a:cubicBezTo>
                    <a:cubicBezTo>
                      <a:pt x="30825" y="12835"/>
                      <a:pt x="28182" y="13344"/>
                      <a:pt x="25859" y="14375"/>
                    </a:cubicBezTo>
                    <a:cubicBezTo>
                      <a:pt x="23536" y="15406"/>
                      <a:pt x="21545" y="16817"/>
                      <a:pt x="19886" y="18630"/>
                    </a:cubicBezTo>
                    <a:cubicBezTo>
                      <a:pt x="18227" y="20443"/>
                      <a:pt x="16923" y="22541"/>
                      <a:pt x="15987" y="24923"/>
                    </a:cubicBezTo>
                    <a:cubicBezTo>
                      <a:pt x="15051" y="27305"/>
                      <a:pt x="14589" y="29853"/>
                      <a:pt x="14589" y="32579"/>
                    </a:cubicBezTo>
                    <a:lnTo>
                      <a:pt x="14589" y="32756"/>
                    </a:lnTo>
                    <a:cubicBezTo>
                      <a:pt x="14589" y="35470"/>
                      <a:pt x="15051" y="38042"/>
                      <a:pt x="15987" y="40448"/>
                    </a:cubicBezTo>
                    <a:cubicBezTo>
                      <a:pt x="16923" y="42865"/>
                      <a:pt x="18251" y="44975"/>
                      <a:pt x="19969" y="46788"/>
                    </a:cubicBezTo>
                    <a:cubicBezTo>
                      <a:pt x="21688" y="48601"/>
                      <a:pt x="23714" y="50035"/>
                      <a:pt x="26037" y="51090"/>
                    </a:cubicBezTo>
                    <a:cubicBezTo>
                      <a:pt x="28360" y="52145"/>
                      <a:pt x="30943" y="52678"/>
                      <a:pt x="33776" y="52678"/>
                    </a:cubicBezTo>
                    <a:cubicBezTo>
                      <a:pt x="36608" y="52678"/>
                      <a:pt x="39121" y="52169"/>
                      <a:pt x="41467" y="51138"/>
                    </a:cubicBezTo>
                    <a:cubicBezTo>
                      <a:pt x="43825" y="50106"/>
                      <a:pt x="45828" y="48696"/>
                      <a:pt x="47487" y="46883"/>
                    </a:cubicBezTo>
                    <a:cubicBezTo>
                      <a:pt x="49147" y="45070"/>
                      <a:pt x="50450" y="42972"/>
                      <a:pt x="51387" y="40590"/>
                    </a:cubicBezTo>
                    <a:cubicBezTo>
                      <a:pt x="52323" y="38208"/>
                      <a:pt x="52785" y="35660"/>
                      <a:pt x="52785" y="32934"/>
                    </a:cubicBezTo>
                    <a:lnTo>
                      <a:pt x="52785" y="32756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D2FF4C8D-C1A9-95E3-82CB-AA3147FF2F60}"/>
                  </a:ext>
                </a:extLst>
              </p:cNvPr>
              <p:cNvSpPr/>
              <p:nvPr/>
            </p:nvSpPr>
            <p:spPr>
              <a:xfrm>
                <a:off x="2045181" y="6591543"/>
                <a:ext cx="96183" cy="64019"/>
              </a:xfrm>
              <a:custGeom>
                <a:avLst/>
                <a:gdLst>
                  <a:gd name="connsiteX0" fmla="*/ 74520 w 96183"/>
                  <a:gd name="connsiteY0" fmla="*/ 64020 h 64019"/>
                  <a:gd name="connsiteX1" fmla="*/ 62384 w 96183"/>
                  <a:gd name="connsiteY1" fmla="*/ 64020 h 64019"/>
                  <a:gd name="connsiteX2" fmla="*/ 48080 w 96183"/>
                  <a:gd name="connsiteY2" fmla="*/ 22553 h 64019"/>
                  <a:gd name="connsiteX3" fmla="*/ 33776 w 96183"/>
                  <a:gd name="connsiteY3" fmla="*/ 64020 h 64019"/>
                  <a:gd name="connsiteX4" fmla="*/ 21640 w 96183"/>
                  <a:gd name="connsiteY4" fmla="*/ 64020 h 64019"/>
                  <a:gd name="connsiteX5" fmla="*/ 0 w 96183"/>
                  <a:gd name="connsiteY5" fmla="*/ 190 h 64019"/>
                  <a:gd name="connsiteX6" fmla="*/ 14944 w 96183"/>
                  <a:gd name="connsiteY6" fmla="*/ 190 h 64019"/>
                  <a:gd name="connsiteX7" fmla="*/ 28075 w 96183"/>
                  <a:gd name="connsiteY7" fmla="*/ 43102 h 64019"/>
                  <a:gd name="connsiteX8" fmla="*/ 42297 w 96183"/>
                  <a:gd name="connsiteY8" fmla="*/ 0 h 64019"/>
                  <a:gd name="connsiteX9" fmla="*/ 54254 w 96183"/>
                  <a:gd name="connsiteY9" fmla="*/ 0 h 64019"/>
                  <a:gd name="connsiteX10" fmla="*/ 68476 w 96183"/>
                  <a:gd name="connsiteY10" fmla="*/ 43102 h 64019"/>
                  <a:gd name="connsiteX11" fmla="*/ 81607 w 96183"/>
                  <a:gd name="connsiteY11" fmla="*/ 190 h 64019"/>
                  <a:gd name="connsiteX12" fmla="*/ 96184 w 96183"/>
                  <a:gd name="connsiteY12" fmla="*/ 190 h 64019"/>
                  <a:gd name="connsiteX13" fmla="*/ 74544 w 96183"/>
                  <a:gd name="connsiteY13" fmla="*/ 64020 h 64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6183" h="64019">
                    <a:moveTo>
                      <a:pt x="74520" y="64020"/>
                    </a:moveTo>
                    <a:lnTo>
                      <a:pt x="62384" y="64020"/>
                    </a:lnTo>
                    <a:lnTo>
                      <a:pt x="48080" y="22553"/>
                    </a:lnTo>
                    <a:lnTo>
                      <a:pt x="33776" y="64020"/>
                    </a:lnTo>
                    <a:lnTo>
                      <a:pt x="21640" y="64020"/>
                    </a:lnTo>
                    <a:lnTo>
                      <a:pt x="0" y="190"/>
                    </a:lnTo>
                    <a:lnTo>
                      <a:pt x="14944" y="190"/>
                    </a:lnTo>
                    <a:lnTo>
                      <a:pt x="28075" y="43102"/>
                    </a:lnTo>
                    <a:lnTo>
                      <a:pt x="42297" y="0"/>
                    </a:lnTo>
                    <a:lnTo>
                      <a:pt x="54254" y="0"/>
                    </a:lnTo>
                    <a:lnTo>
                      <a:pt x="68476" y="43102"/>
                    </a:lnTo>
                    <a:lnTo>
                      <a:pt x="81607" y="190"/>
                    </a:lnTo>
                    <a:lnTo>
                      <a:pt x="96184" y="190"/>
                    </a:lnTo>
                    <a:lnTo>
                      <a:pt x="74544" y="64020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11E706A5-4ECA-7382-99AA-8FA32BDBB51C}"/>
                  </a:ext>
                </a:extLst>
              </p:cNvPr>
              <p:cNvSpPr/>
              <p:nvPr/>
            </p:nvSpPr>
            <p:spPr>
              <a:xfrm>
                <a:off x="1847244" y="6591863"/>
                <a:ext cx="54787" cy="63379"/>
              </a:xfrm>
              <a:custGeom>
                <a:avLst/>
                <a:gdLst>
                  <a:gd name="connsiteX0" fmla="*/ 36004 w 54787"/>
                  <a:gd name="connsiteY0" fmla="*/ 40744 h 63379"/>
                  <a:gd name="connsiteX1" fmla="*/ 49123 w 54787"/>
                  <a:gd name="connsiteY1" fmla="*/ 33633 h 63379"/>
                  <a:gd name="connsiteX2" fmla="*/ 52880 w 54787"/>
                  <a:gd name="connsiteY2" fmla="*/ 21095 h 63379"/>
                  <a:gd name="connsiteX3" fmla="*/ 52880 w 54787"/>
                  <a:gd name="connsiteY3" fmla="*/ 20917 h 63379"/>
                  <a:gd name="connsiteX4" fmla="*/ 46587 w 54787"/>
                  <a:gd name="connsiteY4" fmla="*/ 5523 h 63379"/>
                  <a:gd name="connsiteX5" fmla="*/ 28976 w 54787"/>
                  <a:gd name="connsiteY5" fmla="*/ 0 h 63379"/>
                  <a:gd name="connsiteX6" fmla="*/ 0 w 54787"/>
                  <a:gd name="connsiteY6" fmla="*/ 0 h 63379"/>
                  <a:gd name="connsiteX7" fmla="*/ 0 w 54787"/>
                  <a:gd name="connsiteY7" fmla="*/ 63380 h 63379"/>
                  <a:gd name="connsiteX8" fmla="*/ 13949 w 54787"/>
                  <a:gd name="connsiteY8" fmla="*/ 63380 h 63379"/>
                  <a:gd name="connsiteX9" fmla="*/ 13949 w 54787"/>
                  <a:gd name="connsiteY9" fmla="*/ 12586 h 63379"/>
                  <a:gd name="connsiteX10" fmla="*/ 27803 w 54787"/>
                  <a:gd name="connsiteY10" fmla="*/ 12586 h 63379"/>
                  <a:gd name="connsiteX11" fmla="*/ 35862 w 54787"/>
                  <a:gd name="connsiteY11" fmla="*/ 14849 h 63379"/>
                  <a:gd name="connsiteX12" fmla="*/ 38765 w 54787"/>
                  <a:gd name="connsiteY12" fmla="*/ 21640 h 63379"/>
                  <a:gd name="connsiteX13" fmla="*/ 38765 w 54787"/>
                  <a:gd name="connsiteY13" fmla="*/ 21818 h 63379"/>
                  <a:gd name="connsiteX14" fmla="*/ 36004 w 54787"/>
                  <a:gd name="connsiteY14" fmla="*/ 28336 h 63379"/>
                  <a:gd name="connsiteX15" fmla="*/ 28075 w 54787"/>
                  <a:gd name="connsiteY15" fmla="*/ 30777 h 63379"/>
                  <a:gd name="connsiteX16" fmla="*/ 20941 w 54787"/>
                  <a:gd name="connsiteY16" fmla="*/ 30777 h 63379"/>
                  <a:gd name="connsiteX17" fmla="*/ 20941 w 54787"/>
                  <a:gd name="connsiteY17" fmla="*/ 43091 h 63379"/>
                  <a:gd name="connsiteX18" fmla="*/ 36122 w 54787"/>
                  <a:gd name="connsiteY18" fmla="*/ 63368 h 63379"/>
                  <a:gd name="connsiteX19" fmla="*/ 54788 w 54787"/>
                  <a:gd name="connsiteY19" fmla="*/ 63368 h 63379"/>
                  <a:gd name="connsiteX20" fmla="*/ 36004 w 54787"/>
                  <a:gd name="connsiteY20" fmla="*/ 40732 h 63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4787" h="63379">
                    <a:moveTo>
                      <a:pt x="36004" y="40744"/>
                    </a:moveTo>
                    <a:cubicBezTo>
                      <a:pt x="43956" y="39038"/>
                      <a:pt x="46622" y="36869"/>
                      <a:pt x="49123" y="33633"/>
                    </a:cubicBezTo>
                    <a:cubicBezTo>
                      <a:pt x="51624" y="30398"/>
                      <a:pt x="52880" y="26227"/>
                      <a:pt x="52880" y="21095"/>
                    </a:cubicBezTo>
                    <a:lnTo>
                      <a:pt x="52880" y="20917"/>
                    </a:lnTo>
                    <a:cubicBezTo>
                      <a:pt x="52880" y="14340"/>
                      <a:pt x="50782" y="9208"/>
                      <a:pt x="46587" y="5523"/>
                    </a:cubicBezTo>
                    <a:cubicBezTo>
                      <a:pt x="42391" y="1837"/>
                      <a:pt x="36525" y="0"/>
                      <a:pt x="28976" y="0"/>
                    </a:cubicBezTo>
                    <a:lnTo>
                      <a:pt x="0" y="0"/>
                    </a:lnTo>
                    <a:lnTo>
                      <a:pt x="0" y="63380"/>
                    </a:lnTo>
                    <a:lnTo>
                      <a:pt x="13949" y="63380"/>
                    </a:lnTo>
                    <a:lnTo>
                      <a:pt x="13949" y="12586"/>
                    </a:lnTo>
                    <a:lnTo>
                      <a:pt x="27803" y="12586"/>
                    </a:lnTo>
                    <a:cubicBezTo>
                      <a:pt x="31240" y="12586"/>
                      <a:pt x="33930" y="13344"/>
                      <a:pt x="35862" y="14849"/>
                    </a:cubicBezTo>
                    <a:cubicBezTo>
                      <a:pt x="37793" y="16355"/>
                      <a:pt x="38765" y="18618"/>
                      <a:pt x="38765" y="21640"/>
                    </a:cubicBezTo>
                    <a:lnTo>
                      <a:pt x="38765" y="21818"/>
                    </a:lnTo>
                    <a:cubicBezTo>
                      <a:pt x="38765" y="24532"/>
                      <a:pt x="37841" y="26701"/>
                      <a:pt x="36004" y="28336"/>
                    </a:cubicBezTo>
                    <a:cubicBezTo>
                      <a:pt x="34167" y="29971"/>
                      <a:pt x="31524" y="30777"/>
                      <a:pt x="28075" y="30777"/>
                    </a:cubicBezTo>
                    <a:lnTo>
                      <a:pt x="20941" y="30777"/>
                    </a:lnTo>
                    <a:lnTo>
                      <a:pt x="20941" y="43091"/>
                    </a:lnTo>
                    <a:lnTo>
                      <a:pt x="36122" y="63368"/>
                    </a:lnTo>
                    <a:lnTo>
                      <a:pt x="54788" y="63368"/>
                    </a:lnTo>
                    <a:lnTo>
                      <a:pt x="36004" y="40732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8223FCB3-4C67-E5FE-1432-18567B7B82E5}"/>
                  </a:ext>
                </a:extLst>
              </p:cNvPr>
              <p:cNvSpPr/>
              <p:nvPr/>
            </p:nvSpPr>
            <p:spPr>
              <a:xfrm>
                <a:off x="1913895" y="6591863"/>
                <a:ext cx="54787" cy="63379"/>
              </a:xfrm>
              <a:custGeom>
                <a:avLst/>
                <a:gdLst>
                  <a:gd name="connsiteX0" fmla="*/ 36004 w 54787"/>
                  <a:gd name="connsiteY0" fmla="*/ 40744 h 63379"/>
                  <a:gd name="connsiteX1" fmla="*/ 49123 w 54787"/>
                  <a:gd name="connsiteY1" fmla="*/ 33633 h 63379"/>
                  <a:gd name="connsiteX2" fmla="*/ 52880 w 54787"/>
                  <a:gd name="connsiteY2" fmla="*/ 21095 h 63379"/>
                  <a:gd name="connsiteX3" fmla="*/ 52880 w 54787"/>
                  <a:gd name="connsiteY3" fmla="*/ 20917 h 63379"/>
                  <a:gd name="connsiteX4" fmla="*/ 46587 w 54787"/>
                  <a:gd name="connsiteY4" fmla="*/ 5523 h 63379"/>
                  <a:gd name="connsiteX5" fmla="*/ 28976 w 54787"/>
                  <a:gd name="connsiteY5" fmla="*/ 0 h 63379"/>
                  <a:gd name="connsiteX6" fmla="*/ 0 w 54787"/>
                  <a:gd name="connsiteY6" fmla="*/ 0 h 63379"/>
                  <a:gd name="connsiteX7" fmla="*/ 0 w 54787"/>
                  <a:gd name="connsiteY7" fmla="*/ 63380 h 63379"/>
                  <a:gd name="connsiteX8" fmla="*/ 13949 w 54787"/>
                  <a:gd name="connsiteY8" fmla="*/ 63380 h 63379"/>
                  <a:gd name="connsiteX9" fmla="*/ 13949 w 54787"/>
                  <a:gd name="connsiteY9" fmla="*/ 12586 h 63379"/>
                  <a:gd name="connsiteX10" fmla="*/ 27803 w 54787"/>
                  <a:gd name="connsiteY10" fmla="*/ 12586 h 63379"/>
                  <a:gd name="connsiteX11" fmla="*/ 35862 w 54787"/>
                  <a:gd name="connsiteY11" fmla="*/ 14849 h 63379"/>
                  <a:gd name="connsiteX12" fmla="*/ 38765 w 54787"/>
                  <a:gd name="connsiteY12" fmla="*/ 21640 h 63379"/>
                  <a:gd name="connsiteX13" fmla="*/ 38765 w 54787"/>
                  <a:gd name="connsiteY13" fmla="*/ 21818 h 63379"/>
                  <a:gd name="connsiteX14" fmla="*/ 36004 w 54787"/>
                  <a:gd name="connsiteY14" fmla="*/ 28336 h 63379"/>
                  <a:gd name="connsiteX15" fmla="*/ 28075 w 54787"/>
                  <a:gd name="connsiteY15" fmla="*/ 30777 h 63379"/>
                  <a:gd name="connsiteX16" fmla="*/ 20941 w 54787"/>
                  <a:gd name="connsiteY16" fmla="*/ 30777 h 63379"/>
                  <a:gd name="connsiteX17" fmla="*/ 20941 w 54787"/>
                  <a:gd name="connsiteY17" fmla="*/ 43091 h 63379"/>
                  <a:gd name="connsiteX18" fmla="*/ 36122 w 54787"/>
                  <a:gd name="connsiteY18" fmla="*/ 63368 h 63379"/>
                  <a:gd name="connsiteX19" fmla="*/ 54788 w 54787"/>
                  <a:gd name="connsiteY19" fmla="*/ 63368 h 63379"/>
                  <a:gd name="connsiteX20" fmla="*/ 36004 w 54787"/>
                  <a:gd name="connsiteY20" fmla="*/ 40732 h 63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4787" h="63379">
                    <a:moveTo>
                      <a:pt x="36004" y="40744"/>
                    </a:moveTo>
                    <a:cubicBezTo>
                      <a:pt x="43956" y="39038"/>
                      <a:pt x="46622" y="36869"/>
                      <a:pt x="49123" y="33633"/>
                    </a:cubicBezTo>
                    <a:cubicBezTo>
                      <a:pt x="51624" y="30398"/>
                      <a:pt x="52880" y="26227"/>
                      <a:pt x="52880" y="21095"/>
                    </a:cubicBezTo>
                    <a:lnTo>
                      <a:pt x="52880" y="20917"/>
                    </a:lnTo>
                    <a:cubicBezTo>
                      <a:pt x="52880" y="14340"/>
                      <a:pt x="50782" y="9208"/>
                      <a:pt x="46587" y="5523"/>
                    </a:cubicBezTo>
                    <a:cubicBezTo>
                      <a:pt x="42391" y="1837"/>
                      <a:pt x="36525" y="0"/>
                      <a:pt x="28976" y="0"/>
                    </a:cubicBezTo>
                    <a:lnTo>
                      <a:pt x="0" y="0"/>
                    </a:lnTo>
                    <a:lnTo>
                      <a:pt x="0" y="63380"/>
                    </a:lnTo>
                    <a:lnTo>
                      <a:pt x="13949" y="63380"/>
                    </a:lnTo>
                    <a:lnTo>
                      <a:pt x="13949" y="12586"/>
                    </a:lnTo>
                    <a:lnTo>
                      <a:pt x="27803" y="12586"/>
                    </a:lnTo>
                    <a:cubicBezTo>
                      <a:pt x="31240" y="12586"/>
                      <a:pt x="33930" y="13344"/>
                      <a:pt x="35862" y="14849"/>
                    </a:cubicBezTo>
                    <a:cubicBezTo>
                      <a:pt x="37793" y="16355"/>
                      <a:pt x="38765" y="18618"/>
                      <a:pt x="38765" y="21640"/>
                    </a:cubicBezTo>
                    <a:lnTo>
                      <a:pt x="38765" y="21818"/>
                    </a:lnTo>
                    <a:cubicBezTo>
                      <a:pt x="38765" y="24532"/>
                      <a:pt x="37841" y="26701"/>
                      <a:pt x="36004" y="28336"/>
                    </a:cubicBezTo>
                    <a:cubicBezTo>
                      <a:pt x="34167" y="29971"/>
                      <a:pt x="31524" y="30777"/>
                      <a:pt x="28075" y="30777"/>
                    </a:cubicBezTo>
                    <a:lnTo>
                      <a:pt x="20941" y="30777"/>
                    </a:lnTo>
                    <a:lnTo>
                      <a:pt x="20941" y="43091"/>
                    </a:lnTo>
                    <a:lnTo>
                      <a:pt x="36122" y="63368"/>
                    </a:lnTo>
                    <a:lnTo>
                      <a:pt x="54788" y="63368"/>
                    </a:lnTo>
                    <a:lnTo>
                      <a:pt x="36004" y="40732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404FF70E-0A85-DFE9-982A-6D27624C686C}"/>
                </a:ext>
              </a:extLst>
            </p:cNvPr>
            <p:cNvGrpSpPr/>
            <p:nvPr/>
          </p:nvGrpSpPr>
          <p:grpSpPr>
            <a:xfrm>
              <a:off x="289932" y="6281977"/>
              <a:ext cx="3496977" cy="129643"/>
              <a:chOff x="-20516" y="2052871"/>
              <a:chExt cx="5357137" cy="198605"/>
            </a:xfrm>
          </p:grpSpPr>
          <p:sp>
            <p:nvSpPr>
              <p:cNvPr id="9" name="AutoShape 24">
                <a:extLst>
                  <a:ext uri="{FF2B5EF4-FFF2-40B4-BE49-F238E27FC236}">
                    <a16:creationId xmlns:a16="http://schemas.microsoft.com/office/drawing/2014/main" id="{F2EE7D48-CC3D-38C5-8316-C9E52631C73D}"/>
                  </a:ext>
                </a:extLst>
              </p:cNvPr>
              <p:cNvSpPr/>
              <p:nvPr/>
            </p:nvSpPr>
            <p:spPr>
              <a:xfrm flipV="1">
                <a:off x="1032935" y="2052871"/>
                <a:ext cx="4303686" cy="0"/>
              </a:xfrm>
              <a:prstGeom prst="line">
                <a:avLst/>
              </a:prstGeom>
              <a:ln w="28575" cap="flat">
                <a:solidFill>
                  <a:schemeClr val="bg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ZA">
                  <a:solidFill>
                    <a:srgbClr val="1D428A"/>
                  </a:solidFill>
                </a:endParaRPr>
              </a:p>
            </p:txBody>
          </p:sp>
          <p:sp>
            <p:nvSpPr>
              <p:cNvPr id="10" name="AutoShape 24">
                <a:extLst>
                  <a:ext uri="{FF2B5EF4-FFF2-40B4-BE49-F238E27FC236}">
                    <a16:creationId xmlns:a16="http://schemas.microsoft.com/office/drawing/2014/main" id="{0BBEBC53-866E-E4B4-0CDF-F7C91424E4F0}"/>
                  </a:ext>
                </a:extLst>
              </p:cNvPr>
              <p:cNvSpPr/>
              <p:nvPr/>
            </p:nvSpPr>
            <p:spPr>
              <a:xfrm flipV="1">
                <a:off x="-20516" y="2052877"/>
                <a:ext cx="927307" cy="0"/>
              </a:xfrm>
              <a:prstGeom prst="line">
                <a:avLst/>
              </a:prstGeom>
              <a:ln w="28575" cap="flat">
                <a:solidFill>
                  <a:schemeClr val="bg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ZA">
                  <a:solidFill>
                    <a:srgbClr val="1D428A"/>
                  </a:solidFill>
                </a:endParaRPr>
              </a:p>
            </p:txBody>
          </p:sp>
          <p:sp>
            <p:nvSpPr>
              <p:cNvPr id="11" name="AutoShape 24">
                <a:extLst>
                  <a:ext uri="{FF2B5EF4-FFF2-40B4-BE49-F238E27FC236}">
                    <a16:creationId xmlns:a16="http://schemas.microsoft.com/office/drawing/2014/main" id="{75E000B9-184F-F82F-A3DF-1EB9F56A48D1}"/>
                  </a:ext>
                </a:extLst>
              </p:cNvPr>
              <p:cNvSpPr/>
              <p:nvPr/>
            </p:nvSpPr>
            <p:spPr>
              <a:xfrm flipH="1" flipV="1">
                <a:off x="968334" y="2131093"/>
                <a:ext cx="0" cy="120383"/>
              </a:xfrm>
              <a:prstGeom prst="line">
                <a:avLst/>
              </a:prstGeom>
              <a:ln w="28575" cap="flat">
                <a:solidFill>
                  <a:schemeClr val="bg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ZA">
                  <a:solidFill>
                    <a:srgbClr val="1D428A"/>
                  </a:solidFill>
                </a:endParaRPr>
              </a:p>
            </p:txBody>
          </p:sp>
        </p:grpSp>
      </p:grpSp>
      <p:sp>
        <p:nvSpPr>
          <p:cNvPr id="22" name="Picture Placeholder 20">
            <a:extLst>
              <a:ext uri="{FF2B5EF4-FFF2-40B4-BE49-F238E27FC236}">
                <a16:creationId xmlns:a16="http://schemas.microsoft.com/office/drawing/2014/main" id="{0A59C09A-17CB-0F67-0856-1978B8B80A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0" y="0"/>
            <a:ext cx="4064000" cy="6858000"/>
          </a:xfrm>
          <a:prstGeom prst="rect">
            <a:avLst/>
          </a:prstGeom>
          <a:pattFill prst="pct20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ZA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FCCC29C8-DFFE-E1C3-A09E-F10B3D39C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415" y="365125"/>
            <a:ext cx="3291893" cy="56065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C5E120F1-91F6-1D3B-78C7-BA2A347826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05091" y="365124"/>
            <a:ext cx="3470997" cy="560652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400">
                <a:solidFill>
                  <a:schemeClr val="tx2"/>
                </a:solidFill>
              </a:defRPr>
            </a:lvl1pPr>
            <a:lvl2pPr marL="457200" indent="0" algn="l">
              <a:buNone/>
              <a:defRPr sz="1600"/>
            </a:lvl2pPr>
            <a:lvl3pPr marL="914400" indent="0" algn="l">
              <a:buNone/>
              <a:defRPr sz="1600"/>
            </a:lvl3pPr>
            <a:lvl4pPr marL="1371600" indent="0" algn="l">
              <a:buNone/>
              <a:defRPr sz="1600"/>
            </a:lvl4pPr>
            <a:lvl5pPr marL="1828800" indent="0" algn="l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7B1B47-D587-3DF0-CC9A-90AC87A381E5}"/>
              </a:ext>
            </a:extLst>
          </p:cNvPr>
          <p:cNvSpPr txBox="1">
            <a:spLocks/>
          </p:cNvSpPr>
          <p:nvPr userDrawn="1"/>
        </p:nvSpPr>
        <p:spPr>
          <a:xfrm>
            <a:off x="10925833" y="6419828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anose="020B05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94632BB-94F6-2AA7-DAAD-311F91956145}"/>
              </a:ext>
            </a:extLst>
          </p:cNvPr>
          <p:cNvSpPr txBox="1"/>
          <p:nvPr userDrawn="1"/>
        </p:nvSpPr>
        <p:spPr>
          <a:xfrm>
            <a:off x="3047114" y="6611779"/>
            <a:ext cx="609777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AU" sz="1000">
                <a:solidFill>
                  <a:schemeClr val="bg1">
                    <a:lumMod val="50000"/>
                  </a:schemeClr>
                </a:solidFill>
              </a:rPr>
              <a:t>CONFIDENTIAL MATERIAL – DO NOT DISTRIBUTE </a:t>
            </a:r>
          </a:p>
        </p:txBody>
      </p:sp>
    </p:spTree>
    <p:extLst>
      <p:ext uri="{BB962C8B-B14F-4D97-AF65-F5344CB8AC3E}">
        <p14:creationId xmlns:p14="http://schemas.microsoft.com/office/powerpoint/2010/main" val="616660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DB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41A951E-3E10-3682-80F0-5063DCEE6261}"/>
              </a:ext>
            </a:extLst>
          </p:cNvPr>
          <p:cNvSpPr/>
          <p:nvPr userDrawn="1"/>
        </p:nvSpPr>
        <p:spPr>
          <a:xfrm>
            <a:off x="0" y="0"/>
            <a:ext cx="4064000" cy="6858000"/>
          </a:xfrm>
          <a:prstGeom prst="rect">
            <a:avLst/>
          </a:prstGeom>
          <a:solidFill>
            <a:srgbClr val="001E3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5123C52-B478-3A73-52CF-5A23AE3D8062}"/>
              </a:ext>
            </a:extLst>
          </p:cNvPr>
          <p:cNvGrpSpPr/>
          <p:nvPr userDrawn="1"/>
        </p:nvGrpSpPr>
        <p:grpSpPr>
          <a:xfrm>
            <a:off x="289932" y="6281977"/>
            <a:ext cx="3496977" cy="266800"/>
            <a:chOff x="289932" y="6281977"/>
            <a:chExt cx="3496977" cy="266800"/>
          </a:xfrm>
        </p:grpSpPr>
        <p:grpSp>
          <p:nvGrpSpPr>
            <p:cNvPr id="7" name="Graphic 25">
              <a:extLst>
                <a:ext uri="{FF2B5EF4-FFF2-40B4-BE49-F238E27FC236}">
                  <a16:creationId xmlns:a16="http://schemas.microsoft.com/office/drawing/2014/main" id="{9DD2494D-D78D-6A7D-7A76-6C15B14D82D4}"/>
                </a:ext>
              </a:extLst>
            </p:cNvPr>
            <p:cNvGrpSpPr/>
            <p:nvPr/>
          </p:nvGrpSpPr>
          <p:grpSpPr>
            <a:xfrm>
              <a:off x="641802" y="6483229"/>
              <a:ext cx="588657" cy="65548"/>
              <a:chOff x="1552708" y="6590654"/>
              <a:chExt cx="588657" cy="65548"/>
            </a:xfrm>
            <a:solidFill>
              <a:schemeClr val="bg1"/>
            </a:solidFill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2A1F7E63-7AD0-1567-4C9C-37D35B3CECE8}"/>
                  </a:ext>
                </a:extLst>
              </p:cNvPr>
              <p:cNvSpPr/>
              <p:nvPr/>
            </p:nvSpPr>
            <p:spPr>
              <a:xfrm>
                <a:off x="1552708" y="6591721"/>
                <a:ext cx="52512" cy="63379"/>
              </a:xfrm>
              <a:custGeom>
                <a:avLst/>
                <a:gdLst>
                  <a:gd name="connsiteX0" fmla="*/ 33231 w 52512"/>
                  <a:gd name="connsiteY0" fmla="*/ 12858 h 63379"/>
                  <a:gd name="connsiteX1" fmla="*/ 33231 w 52512"/>
                  <a:gd name="connsiteY1" fmla="*/ 63380 h 63379"/>
                  <a:gd name="connsiteX2" fmla="*/ 19282 w 52512"/>
                  <a:gd name="connsiteY2" fmla="*/ 63380 h 63379"/>
                  <a:gd name="connsiteX3" fmla="*/ 19282 w 52512"/>
                  <a:gd name="connsiteY3" fmla="*/ 12858 h 63379"/>
                  <a:gd name="connsiteX4" fmla="*/ 0 w 52512"/>
                  <a:gd name="connsiteY4" fmla="*/ 12858 h 63379"/>
                  <a:gd name="connsiteX5" fmla="*/ 0 w 52512"/>
                  <a:gd name="connsiteY5" fmla="*/ 0 h 63379"/>
                  <a:gd name="connsiteX6" fmla="*/ 52512 w 52512"/>
                  <a:gd name="connsiteY6" fmla="*/ 0 h 63379"/>
                  <a:gd name="connsiteX7" fmla="*/ 52512 w 52512"/>
                  <a:gd name="connsiteY7" fmla="*/ 12858 h 63379"/>
                  <a:gd name="connsiteX8" fmla="*/ 33231 w 52512"/>
                  <a:gd name="connsiteY8" fmla="*/ 12858 h 63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512" h="63379">
                    <a:moveTo>
                      <a:pt x="33231" y="12858"/>
                    </a:moveTo>
                    <a:lnTo>
                      <a:pt x="33231" y="63380"/>
                    </a:lnTo>
                    <a:lnTo>
                      <a:pt x="19282" y="63380"/>
                    </a:lnTo>
                    <a:lnTo>
                      <a:pt x="19282" y="12858"/>
                    </a:lnTo>
                    <a:lnTo>
                      <a:pt x="0" y="12858"/>
                    </a:lnTo>
                    <a:lnTo>
                      <a:pt x="0" y="0"/>
                    </a:lnTo>
                    <a:lnTo>
                      <a:pt x="52512" y="0"/>
                    </a:lnTo>
                    <a:lnTo>
                      <a:pt x="52512" y="12858"/>
                    </a:lnTo>
                    <a:lnTo>
                      <a:pt x="33231" y="12858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91FC172C-AA03-DA31-1AB5-D72A6FED3BA1}"/>
                  </a:ext>
                </a:extLst>
              </p:cNvPr>
              <p:cNvSpPr/>
              <p:nvPr/>
            </p:nvSpPr>
            <p:spPr>
              <a:xfrm>
                <a:off x="1613113" y="6590654"/>
                <a:ext cx="67361" cy="65548"/>
              </a:xfrm>
              <a:custGeom>
                <a:avLst/>
                <a:gdLst>
                  <a:gd name="connsiteX0" fmla="*/ 64826 w 67361"/>
                  <a:gd name="connsiteY0" fmla="*/ 45485 h 65548"/>
                  <a:gd name="connsiteX1" fmla="*/ 57810 w 67361"/>
                  <a:gd name="connsiteY1" fmla="*/ 55902 h 65548"/>
                  <a:gd name="connsiteX2" fmla="*/ 47120 w 67361"/>
                  <a:gd name="connsiteY2" fmla="*/ 62965 h 65548"/>
                  <a:gd name="connsiteX3" fmla="*/ 33586 w 67361"/>
                  <a:gd name="connsiteY3" fmla="*/ 65548 h 65548"/>
                  <a:gd name="connsiteX4" fmla="*/ 20100 w 67361"/>
                  <a:gd name="connsiteY4" fmla="*/ 62965 h 65548"/>
                  <a:gd name="connsiteX5" fmla="*/ 9457 w 67361"/>
                  <a:gd name="connsiteY5" fmla="*/ 55996 h 65548"/>
                  <a:gd name="connsiteX6" fmla="*/ 2489 w 67361"/>
                  <a:gd name="connsiteY6" fmla="*/ 45674 h 65548"/>
                  <a:gd name="connsiteX7" fmla="*/ 0 w 67361"/>
                  <a:gd name="connsiteY7" fmla="*/ 32958 h 65548"/>
                  <a:gd name="connsiteX8" fmla="*/ 0 w 67361"/>
                  <a:gd name="connsiteY8" fmla="*/ 32780 h 65548"/>
                  <a:gd name="connsiteX9" fmla="*/ 2536 w 67361"/>
                  <a:gd name="connsiteY9" fmla="*/ 20064 h 65548"/>
                  <a:gd name="connsiteX10" fmla="*/ 9552 w 67361"/>
                  <a:gd name="connsiteY10" fmla="*/ 9647 h 65548"/>
                  <a:gd name="connsiteX11" fmla="*/ 20242 w 67361"/>
                  <a:gd name="connsiteY11" fmla="*/ 2584 h 65548"/>
                  <a:gd name="connsiteX12" fmla="*/ 33776 w 67361"/>
                  <a:gd name="connsiteY12" fmla="*/ 0 h 65548"/>
                  <a:gd name="connsiteX13" fmla="*/ 47262 w 67361"/>
                  <a:gd name="connsiteY13" fmla="*/ 2584 h 65548"/>
                  <a:gd name="connsiteX14" fmla="*/ 57905 w 67361"/>
                  <a:gd name="connsiteY14" fmla="*/ 9552 h 65548"/>
                  <a:gd name="connsiteX15" fmla="*/ 64873 w 67361"/>
                  <a:gd name="connsiteY15" fmla="*/ 19874 h 65548"/>
                  <a:gd name="connsiteX16" fmla="*/ 67362 w 67361"/>
                  <a:gd name="connsiteY16" fmla="*/ 32591 h 65548"/>
                  <a:gd name="connsiteX17" fmla="*/ 67362 w 67361"/>
                  <a:gd name="connsiteY17" fmla="*/ 32768 h 65548"/>
                  <a:gd name="connsiteX18" fmla="*/ 64826 w 67361"/>
                  <a:gd name="connsiteY18" fmla="*/ 45496 h 65548"/>
                  <a:gd name="connsiteX19" fmla="*/ 52785 w 67361"/>
                  <a:gd name="connsiteY19" fmla="*/ 32756 h 65548"/>
                  <a:gd name="connsiteX20" fmla="*/ 51387 w 67361"/>
                  <a:gd name="connsiteY20" fmla="*/ 25065 h 65548"/>
                  <a:gd name="connsiteX21" fmla="*/ 47405 w 67361"/>
                  <a:gd name="connsiteY21" fmla="*/ 18725 h 65548"/>
                  <a:gd name="connsiteX22" fmla="*/ 41289 w 67361"/>
                  <a:gd name="connsiteY22" fmla="*/ 14423 h 65548"/>
                  <a:gd name="connsiteX23" fmla="*/ 33598 w 67361"/>
                  <a:gd name="connsiteY23" fmla="*/ 12835 h 65548"/>
                  <a:gd name="connsiteX24" fmla="*/ 25859 w 67361"/>
                  <a:gd name="connsiteY24" fmla="*/ 14375 h 65548"/>
                  <a:gd name="connsiteX25" fmla="*/ 19886 w 67361"/>
                  <a:gd name="connsiteY25" fmla="*/ 18630 h 65548"/>
                  <a:gd name="connsiteX26" fmla="*/ 15987 w 67361"/>
                  <a:gd name="connsiteY26" fmla="*/ 24923 h 65548"/>
                  <a:gd name="connsiteX27" fmla="*/ 14589 w 67361"/>
                  <a:gd name="connsiteY27" fmla="*/ 32579 h 65548"/>
                  <a:gd name="connsiteX28" fmla="*/ 14589 w 67361"/>
                  <a:gd name="connsiteY28" fmla="*/ 32756 h 65548"/>
                  <a:gd name="connsiteX29" fmla="*/ 15987 w 67361"/>
                  <a:gd name="connsiteY29" fmla="*/ 40448 h 65548"/>
                  <a:gd name="connsiteX30" fmla="*/ 19969 w 67361"/>
                  <a:gd name="connsiteY30" fmla="*/ 46788 h 65548"/>
                  <a:gd name="connsiteX31" fmla="*/ 26037 w 67361"/>
                  <a:gd name="connsiteY31" fmla="*/ 51090 h 65548"/>
                  <a:gd name="connsiteX32" fmla="*/ 33776 w 67361"/>
                  <a:gd name="connsiteY32" fmla="*/ 52678 h 65548"/>
                  <a:gd name="connsiteX33" fmla="*/ 41467 w 67361"/>
                  <a:gd name="connsiteY33" fmla="*/ 51138 h 65548"/>
                  <a:gd name="connsiteX34" fmla="*/ 47487 w 67361"/>
                  <a:gd name="connsiteY34" fmla="*/ 46883 h 65548"/>
                  <a:gd name="connsiteX35" fmla="*/ 51387 w 67361"/>
                  <a:gd name="connsiteY35" fmla="*/ 40590 h 65548"/>
                  <a:gd name="connsiteX36" fmla="*/ 52785 w 67361"/>
                  <a:gd name="connsiteY36" fmla="*/ 32934 h 65548"/>
                  <a:gd name="connsiteX37" fmla="*/ 52785 w 67361"/>
                  <a:gd name="connsiteY37" fmla="*/ 32756 h 65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7361" h="65548">
                    <a:moveTo>
                      <a:pt x="64826" y="45485"/>
                    </a:moveTo>
                    <a:cubicBezTo>
                      <a:pt x="63131" y="49443"/>
                      <a:pt x="60796" y="52903"/>
                      <a:pt x="57810" y="55902"/>
                    </a:cubicBezTo>
                    <a:cubicBezTo>
                      <a:pt x="54823" y="58900"/>
                      <a:pt x="51256" y="61247"/>
                      <a:pt x="47120" y="62965"/>
                    </a:cubicBezTo>
                    <a:cubicBezTo>
                      <a:pt x="42984" y="64683"/>
                      <a:pt x="38469" y="65548"/>
                      <a:pt x="33586" y="65548"/>
                    </a:cubicBezTo>
                    <a:cubicBezTo>
                      <a:pt x="28703" y="65548"/>
                      <a:pt x="24200" y="64683"/>
                      <a:pt x="20100" y="62965"/>
                    </a:cubicBezTo>
                    <a:cubicBezTo>
                      <a:pt x="15999" y="61247"/>
                      <a:pt x="12444" y="58924"/>
                      <a:pt x="9457" y="55996"/>
                    </a:cubicBezTo>
                    <a:cubicBezTo>
                      <a:pt x="6471" y="53069"/>
                      <a:pt x="4148" y="49632"/>
                      <a:pt x="2489" y="45674"/>
                    </a:cubicBezTo>
                    <a:cubicBezTo>
                      <a:pt x="830" y="41716"/>
                      <a:pt x="0" y="37485"/>
                      <a:pt x="0" y="32958"/>
                    </a:cubicBezTo>
                    <a:lnTo>
                      <a:pt x="0" y="32780"/>
                    </a:lnTo>
                    <a:cubicBezTo>
                      <a:pt x="0" y="28253"/>
                      <a:pt x="841" y="24010"/>
                      <a:pt x="2536" y="20064"/>
                    </a:cubicBezTo>
                    <a:cubicBezTo>
                      <a:pt x="4231" y="16118"/>
                      <a:pt x="6566" y="12645"/>
                      <a:pt x="9552" y="9647"/>
                    </a:cubicBezTo>
                    <a:cubicBezTo>
                      <a:pt x="12539" y="6660"/>
                      <a:pt x="16106" y="4302"/>
                      <a:pt x="20242" y="2584"/>
                    </a:cubicBezTo>
                    <a:cubicBezTo>
                      <a:pt x="24378" y="865"/>
                      <a:pt x="28893" y="0"/>
                      <a:pt x="33776" y="0"/>
                    </a:cubicBezTo>
                    <a:cubicBezTo>
                      <a:pt x="38658" y="0"/>
                      <a:pt x="43162" y="865"/>
                      <a:pt x="47262" y="2584"/>
                    </a:cubicBezTo>
                    <a:cubicBezTo>
                      <a:pt x="51363" y="4302"/>
                      <a:pt x="54918" y="6625"/>
                      <a:pt x="57905" y="9552"/>
                    </a:cubicBezTo>
                    <a:cubicBezTo>
                      <a:pt x="60891" y="12479"/>
                      <a:pt x="63214" y="15916"/>
                      <a:pt x="64873" y="19874"/>
                    </a:cubicBezTo>
                    <a:cubicBezTo>
                      <a:pt x="66532" y="23833"/>
                      <a:pt x="67362" y="28063"/>
                      <a:pt x="67362" y="32591"/>
                    </a:cubicBezTo>
                    <a:lnTo>
                      <a:pt x="67362" y="32768"/>
                    </a:lnTo>
                    <a:cubicBezTo>
                      <a:pt x="67362" y="37295"/>
                      <a:pt x="66520" y="41538"/>
                      <a:pt x="64826" y="45496"/>
                    </a:cubicBezTo>
                    <a:close/>
                    <a:moveTo>
                      <a:pt x="52785" y="32756"/>
                    </a:moveTo>
                    <a:cubicBezTo>
                      <a:pt x="52785" y="30043"/>
                      <a:pt x="52323" y="27471"/>
                      <a:pt x="51387" y="25065"/>
                    </a:cubicBezTo>
                    <a:cubicBezTo>
                      <a:pt x="50450" y="22647"/>
                      <a:pt x="49123" y="20538"/>
                      <a:pt x="47405" y="18725"/>
                    </a:cubicBezTo>
                    <a:cubicBezTo>
                      <a:pt x="45686" y="16912"/>
                      <a:pt x="43648" y="15478"/>
                      <a:pt x="41289" y="14423"/>
                    </a:cubicBezTo>
                    <a:cubicBezTo>
                      <a:pt x="38931" y="13368"/>
                      <a:pt x="36371" y="12835"/>
                      <a:pt x="33598" y="12835"/>
                    </a:cubicBezTo>
                    <a:cubicBezTo>
                      <a:pt x="30825" y="12835"/>
                      <a:pt x="28182" y="13344"/>
                      <a:pt x="25859" y="14375"/>
                    </a:cubicBezTo>
                    <a:cubicBezTo>
                      <a:pt x="23536" y="15406"/>
                      <a:pt x="21545" y="16817"/>
                      <a:pt x="19886" y="18630"/>
                    </a:cubicBezTo>
                    <a:cubicBezTo>
                      <a:pt x="18227" y="20443"/>
                      <a:pt x="16923" y="22541"/>
                      <a:pt x="15987" y="24923"/>
                    </a:cubicBezTo>
                    <a:cubicBezTo>
                      <a:pt x="15051" y="27305"/>
                      <a:pt x="14589" y="29853"/>
                      <a:pt x="14589" y="32579"/>
                    </a:cubicBezTo>
                    <a:lnTo>
                      <a:pt x="14589" y="32756"/>
                    </a:lnTo>
                    <a:cubicBezTo>
                      <a:pt x="14589" y="35470"/>
                      <a:pt x="15051" y="38042"/>
                      <a:pt x="15987" y="40448"/>
                    </a:cubicBezTo>
                    <a:cubicBezTo>
                      <a:pt x="16923" y="42865"/>
                      <a:pt x="18251" y="44975"/>
                      <a:pt x="19969" y="46788"/>
                    </a:cubicBezTo>
                    <a:cubicBezTo>
                      <a:pt x="21688" y="48601"/>
                      <a:pt x="23714" y="50035"/>
                      <a:pt x="26037" y="51090"/>
                    </a:cubicBezTo>
                    <a:cubicBezTo>
                      <a:pt x="28360" y="52145"/>
                      <a:pt x="30943" y="52678"/>
                      <a:pt x="33776" y="52678"/>
                    </a:cubicBezTo>
                    <a:cubicBezTo>
                      <a:pt x="36608" y="52678"/>
                      <a:pt x="39121" y="52169"/>
                      <a:pt x="41467" y="51138"/>
                    </a:cubicBezTo>
                    <a:cubicBezTo>
                      <a:pt x="43825" y="50106"/>
                      <a:pt x="45828" y="48696"/>
                      <a:pt x="47487" y="46883"/>
                    </a:cubicBezTo>
                    <a:cubicBezTo>
                      <a:pt x="49147" y="45070"/>
                      <a:pt x="50450" y="42972"/>
                      <a:pt x="51387" y="40590"/>
                    </a:cubicBezTo>
                    <a:cubicBezTo>
                      <a:pt x="52323" y="38208"/>
                      <a:pt x="52785" y="35660"/>
                      <a:pt x="52785" y="32934"/>
                    </a:cubicBezTo>
                    <a:lnTo>
                      <a:pt x="52785" y="32756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C96E6CBC-946A-50B8-F887-51CA2C85C615}"/>
                  </a:ext>
                </a:extLst>
              </p:cNvPr>
              <p:cNvSpPr/>
              <p:nvPr/>
            </p:nvSpPr>
            <p:spPr>
              <a:xfrm>
                <a:off x="1692871" y="6591709"/>
                <a:ext cx="63379" cy="63391"/>
              </a:xfrm>
              <a:custGeom>
                <a:avLst/>
                <a:gdLst>
                  <a:gd name="connsiteX0" fmla="*/ 49621 w 63379"/>
                  <a:gd name="connsiteY0" fmla="*/ 63392 h 63391"/>
                  <a:gd name="connsiteX1" fmla="*/ 49621 w 63379"/>
                  <a:gd name="connsiteY1" fmla="*/ 22008 h 63391"/>
                  <a:gd name="connsiteX2" fmla="*/ 31785 w 63379"/>
                  <a:gd name="connsiteY2" fmla="*/ 49075 h 63391"/>
                  <a:gd name="connsiteX3" fmla="*/ 31417 w 63379"/>
                  <a:gd name="connsiteY3" fmla="*/ 49075 h 63391"/>
                  <a:gd name="connsiteX4" fmla="*/ 13759 w 63379"/>
                  <a:gd name="connsiteY4" fmla="*/ 22268 h 63391"/>
                  <a:gd name="connsiteX5" fmla="*/ 13759 w 63379"/>
                  <a:gd name="connsiteY5" fmla="*/ 63380 h 63391"/>
                  <a:gd name="connsiteX6" fmla="*/ 0 w 63379"/>
                  <a:gd name="connsiteY6" fmla="*/ 63380 h 63391"/>
                  <a:gd name="connsiteX7" fmla="*/ 0 w 63379"/>
                  <a:gd name="connsiteY7" fmla="*/ 0 h 63391"/>
                  <a:gd name="connsiteX8" fmla="*/ 15027 w 63379"/>
                  <a:gd name="connsiteY8" fmla="*/ 0 h 63391"/>
                  <a:gd name="connsiteX9" fmla="*/ 31690 w 63379"/>
                  <a:gd name="connsiteY9" fmla="*/ 26807 h 63391"/>
                  <a:gd name="connsiteX10" fmla="*/ 48353 w 63379"/>
                  <a:gd name="connsiteY10" fmla="*/ 0 h 63391"/>
                  <a:gd name="connsiteX11" fmla="*/ 63380 w 63379"/>
                  <a:gd name="connsiteY11" fmla="*/ 0 h 63391"/>
                  <a:gd name="connsiteX12" fmla="*/ 63380 w 63379"/>
                  <a:gd name="connsiteY12" fmla="*/ 63380 h 63391"/>
                  <a:gd name="connsiteX13" fmla="*/ 49621 w 63379"/>
                  <a:gd name="connsiteY13" fmla="*/ 63380 h 63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3379" h="63391">
                    <a:moveTo>
                      <a:pt x="49621" y="63392"/>
                    </a:moveTo>
                    <a:lnTo>
                      <a:pt x="49621" y="22008"/>
                    </a:lnTo>
                    <a:lnTo>
                      <a:pt x="31785" y="49075"/>
                    </a:lnTo>
                    <a:lnTo>
                      <a:pt x="31417" y="49075"/>
                    </a:lnTo>
                    <a:lnTo>
                      <a:pt x="13759" y="22268"/>
                    </a:lnTo>
                    <a:lnTo>
                      <a:pt x="13759" y="63380"/>
                    </a:lnTo>
                    <a:lnTo>
                      <a:pt x="0" y="63380"/>
                    </a:lnTo>
                    <a:lnTo>
                      <a:pt x="0" y="0"/>
                    </a:lnTo>
                    <a:lnTo>
                      <a:pt x="15027" y="0"/>
                    </a:lnTo>
                    <a:lnTo>
                      <a:pt x="31690" y="26807"/>
                    </a:lnTo>
                    <a:lnTo>
                      <a:pt x="48353" y="0"/>
                    </a:lnTo>
                    <a:lnTo>
                      <a:pt x="63380" y="0"/>
                    </a:lnTo>
                    <a:lnTo>
                      <a:pt x="63380" y="63380"/>
                    </a:lnTo>
                    <a:lnTo>
                      <a:pt x="49621" y="63380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50B944A5-C620-66F0-85B4-9A875BB87699}"/>
                  </a:ext>
                </a:extLst>
              </p:cNvPr>
              <p:cNvSpPr/>
              <p:nvPr/>
            </p:nvSpPr>
            <p:spPr>
              <a:xfrm>
                <a:off x="1768671" y="6590654"/>
                <a:ext cx="67361" cy="65548"/>
              </a:xfrm>
              <a:custGeom>
                <a:avLst/>
                <a:gdLst>
                  <a:gd name="connsiteX0" fmla="*/ 64826 w 67361"/>
                  <a:gd name="connsiteY0" fmla="*/ 45485 h 65548"/>
                  <a:gd name="connsiteX1" fmla="*/ 57810 w 67361"/>
                  <a:gd name="connsiteY1" fmla="*/ 55902 h 65548"/>
                  <a:gd name="connsiteX2" fmla="*/ 47120 w 67361"/>
                  <a:gd name="connsiteY2" fmla="*/ 62965 h 65548"/>
                  <a:gd name="connsiteX3" fmla="*/ 33586 w 67361"/>
                  <a:gd name="connsiteY3" fmla="*/ 65548 h 65548"/>
                  <a:gd name="connsiteX4" fmla="*/ 20100 w 67361"/>
                  <a:gd name="connsiteY4" fmla="*/ 62965 h 65548"/>
                  <a:gd name="connsiteX5" fmla="*/ 9457 w 67361"/>
                  <a:gd name="connsiteY5" fmla="*/ 55996 h 65548"/>
                  <a:gd name="connsiteX6" fmla="*/ 2489 w 67361"/>
                  <a:gd name="connsiteY6" fmla="*/ 45674 h 65548"/>
                  <a:gd name="connsiteX7" fmla="*/ 0 w 67361"/>
                  <a:gd name="connsiteY7" fmla="*/ 32958 h 65548"/>
                  <a:gd name="connsiteX8" fmla="*/ 0 w 67361"/>
                  <a:gd name="connsiteY8" fmla="*/ 32780 h 65548"/>
                  <a:gd name="connsiteX9" fmla="*/ 2536 w 67361"/>
                  <a:gd name="connsiteY9" fmla="*/ 20064 h 65548"/>
                  <a:gd name="connsiteX10" fmla="*/ 9552 w 67361"/>
                  <a:gd name="connsiteY10" fmla="*/ 9647 h 65548"/>
                  <a:gd name="connsiteX11" fmla="*/ 20242 w 67361"/>
                  <a:gd name="connsiteY11" fmla="*/ 2584 h 65548"/>
                  <a:gd name="connsiteX12" fmla="*/ 33776 w 67361"/>
                  <a:gd name="connsiteY12" fmla="*/ 0 h 65548"/>
                  <a:gd name="connsiteX13" fmla="*/ 47262 w 67361"/>
                  <a:gd name="connsiteY13" fmla="*/ 2584 h 65548"/>
                  <a:gd name="connsiteX14" fmla="*/ 57905 w 67361"/>
                  <a:gd name="connsiteY14" fmla="*/ 9552 h 65548"/>
                  <a:gd name="connsiteX15" fmla="*/ 64873 w 67361"/>
                  <a:gd name="connsiteY15" fmla="*/ 19874 h 65548"/>
                  <a:gd name="connsiteX16" fmla="*/ 67362 w 67361"/>
                  <a:gd name="connsiteY16" fmla="*/ 32591 h 65548"/>
                  <a:gd name="connsiteX17" fmla="*/ 67362 w 67361"/>
                  <a:gd name="connsiteY17" fmla="*/ 32768 h 65548"/>
                  <a:gd name="connsiteX18" fmla="*/ 64826 w 67361"/>
                  <a:gd name="connsiteY18" fmla="*/ 45496 h 65548"/>
                  <a:gd name="connsiteX19" fmla="*/ 52785 w 67361"/>
                  <a:gd name="connsiteY19" fmla="*/ 32756 h 65548"/>
                  <a:gd name="connsiteX20" fmla="*/ 51387 w 67361"/>
                  <a:gd name="connsiteY20" fmla="*/ 25065 h 65548"/>
                  <a:gd name="connsiteX21" fmla="*/ 47405 w 67361"/>
                  <a:gd name="connsiteY21" fmla="*/ 18725 h 65548"/>
                  <a:gd name="connsiteX22" fmla="*/ 41289 w 67361"/>
                  <a:gd name="connsiteY22" fmla="*/ 14423 h 65548"/>
                  <a:gd name="connsiteX23" fmla="*/ 33598 w 67361"/>
                  <a:gd name="connsiteY23" fmla="*/ 12835 h 65548"/>
                  <a:gd name="connsiteX24" fmla="*/ 25859 w 67361"/>
                  <a:gd name="connsiteY24" fmla="*/ 14375 h 65548"/>
                  <a:gd name="connsiteX25" fmla="*/ 19886 w 67361"/>
                  <a:gd name="connsiteY25" fmla="*/ 18630 h 65548"/>
                  <a:gd name="connsiteX26" fmla="*/ 15987 w 67361"/>
                  <a:gd name="connsiteY26" fmla="*/ 24923 h 65548"/>
                  <a:gd name="connsiteX27" fmla="*/ 14589 w 67361"/>
                  <a:gd name="connsiteY27" fmla="*/ 32579 h 65548"/>
                  <a:gd name="connsiteX28" fmla="*/ 14589 w 67361"/>
                  <a:gd name="connsiteY28" fmla="*/ 32756 h 65548"/>
                  <a:gd name="connsiteX29" fmla="*/ 15987 w 67361"/>
                  <a:gd name="connsiteY29" fmla="*/ 40448 h 65548"/>
                  <a:gd name="connsiteX30" fmla="*/ 19969 w 67361"/>
                  <a:gd name="connsiteY30" fmla="*/ 46788 h 65548"/>
                  <a:gd name="connsiteX31" fmla="*/ 26037 w 67361"/>
                  <a:gd name="connsiteY31" fmla="*/ 51090 h 65548"/>
                  <a:gd name="connsiteX32" fmla="*/ 33776 w 67361"/>
                  <a:gd name="connsiteY32" fmla="*/ 52678 h 65548"/>
                  <a:gd name="connsiteX33" fmla="*/ 41467 w 67361"/>
                  <a:gd name="connsiteY33" fmla="*/ 51138 h 65548"/>
                  <a:gd name="connsiteX34" fmla="*/ 47488 w 67361"/>
                  <a:gd name="connsiteY34" fmla="*/ 46883 h 65548"/>
                  <a:gd name="connsiteX35" fmla="*/ 51387 w 67361"/>
                  <a:gd name="connsiteY35" fmla="*/ 40590 h 65548"/>
                  <a:gd name="connsiteX36" fmla="*/ 52785 w 67361"/>
                  <a:gd name="connsiteY36" fmla="*/ 32934 h 65548"/>
                  <a:gd name="connsiteX37" fmla="*/ 52785 w 67361"/>
                  <a:gd name="connsiteY37" fmla="*/ 32756 h 65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7361" h="65548">
                    <a:moveTo>
                      <a:pt x="64826" y="45485"/>
                    </a:moveTo>
                    <a:cubicBezTo>
                      <a:pt x="63131" y="49443"/>
                      <a:pt x="60796" y="52903"/>
                      <a:pt x="57810" y="55902"/>
                    </a:cubicBezTo>
                    <a:cubicBezTo>
                      <a:pt x="54823" y="58900"/>
                      <a:pt x="51256" y="61247"/>
                      <a:pt x="47120" y="62965"/>
                    </a:cubicBezTo>
                    <a:cubicBezTo>
                      <a:pt x="42984" y="64683"/>
                      <a:pt x="38469" y="65548"/>
                      <a:pt x="33586" y="65548"/>
                    </a:cubicBezTo>
                    <a:cubicBezTo>
                      <a:pt x="28703" y="65548"/>
                      <a:pt x="24200" y="64683"/>
                      <a:pt x="20100" y="62965"/>
                    </a:cubicBezTo>
                    <a:cubicBezTo>
                      <a:pt x="15999" y="61247"/>
                      <a:pt x="12444" y="58924"/>
                      <a:pt x="9457" y="55996"/>
                    </a:cubicBezTo>
                    <a:cubicBezTo>
                      <a:pt x="6471" y="53069"/>
                      <a:pt x="4148" y="49632"/>
                      <a:pt x="2489" y="45674"/>
                    </a:cubicBezTo>
                    <a:cubicBezTo>
                      <a:pt x="830" y="41716"/>
                      <a:pt x="0" y="37485"/>
                      <a:pt x="0" y="32958"/>
                    </a:cubicBezTo>
                    <a:lnTo>
                      <a:pt x="0" y="32780"/>
                    </a:lnTo>
                    <a:cubicBezTo>
                      <a:pt x="0" y="28253"/>
                      <a:pt x="841" y="24010"/>
                      <a:pt x="2536" y="20064"/>
                    </a:cubicBezTo>
                    <a:cubicBezTo>
                      <a:pt x="4231" y="16118"/>
                      <a:pt x="6566" y="12645"/>
                      <a:pt x="9552" y="9647"/>
                    </a:cubicBezTo>
                    <a:cubicBezTo>
                      <a:pt x="12539" y="6660"/>
                      <a:pt x="16106" y="4302"/>
                      <a:pt x="20242" y="2584"/>
                    </a:cubicBezTo>
                    <a:cubicBezTo>
                      <a:pt x="24378" y="865"/>
                      <a:pt x="28893" y="0"/>
                      <a:pt x="33776" y="0"/>
                    </a:cubicBezTo>
                    <a:cubicBezTo>
                      <a:pt x="38658" y="0"/>
                      <a:pt x="43162" y="865"/>
                      <a:pt x="47262" y="2584"/>
                    </a:cubicBezTo>
                    <a:cubicBezTo>
                      <a:pt x="51363" y="4302"/>
                      <a:pt x="54918" y="6625"/>
                      <a:pt x="57905" y="9552"/>
                    </a:cubicBezTo>
                    <a:cubicBezTo>
                      <a:pt x="60891" y="12479"/>
                      <a:pt x="63214" y="15916"/>
                      <a:pt x="64873" y="19874"/>
                    </a:cubicBezTo>
                    <a:cubicBezTo>
                      <a:pt x="66532" y="23833"/>
                      <a:pt x="67362" y="28063"/>
                      <a:pt x="67362" y="32591"/>
                    </a:cubicBezTo>
                    <a:lnTo>
                      <a:pt x="67362" y="32768"/>
                    </a:lnTo>
                    <a:cubicBezTo>
                      <a:pt x="67362" y="37295"/>
                      <a:pt x="66520" y="41538"/>
                      <a:pt x="64826" y="45496"/>
                    </a:cubicBezTo>
                    <a:close/>
                    <a:moveTo>
                      <a:pt x="52785" y="32756"/>
                    </a:moveTo>
                    <a:cubicBezTo>
                      <a:pt x="52785" y="30043"/>
                      <a:pt x="52323" y="27471"/>
                      <a:pt x="51387" y="25065"/>
                    </a:cubicBezTo>
                    <a:cubicBezTo>
                      <a:pt x="50450" y="22647"/>
                      <a:pt x="49123" y="20538"/>
                      <a:pt x="47405" y="18725"/>
                    </a:cubicBezTo>
                    <a:cubicBezTo>
                      <a:pt x="45686" y="16912"/>
                      <a:pt x="43648" y="15478"/>
                      <a:pt x="41289" y="14423"/>
                    </a:cubicBezTo>
                    <a:cubicBezTo>
                      <a:pt x="38931" y="13368"/>
                      <a:pt x="36371" y="12835"/>
                      <a:pt x="33598" y="12835"/>
                    </a:cubicBezTo>
                    <a:cubicBezTo>
                      <a:pt x="30825" y="12835"/>
                      <a:pt x="28182" y="13344"/>
                      <a:pt x="25859" y="14375"/>
                    </a:cubicBezTo>
                    <a:cubicBezTo>
                      <a:pt x="23536" y="15406"/>
                      <a:pt x="21545" y="16817"/>
                      <a:pt x="19886" y="18630"/>
                    </a:cubicBezTo>
                    <a:cubicBezTo>
                      <a:pt x="18227" y="20443"/>
                      <a:pt x="16923" y="22541"/>
                      <a:pt x="15987" y="24923"/>
                    </a:cubicBezTo>
                    <a:cubicBezTo>
                      <a:pt x="15051" y="27305"/>
                      <a:pt x="14589" y="29853"/>
                      <a:pt x="14589" y="32579"/>
                    </a:cubicBezTo>
                    <a:lnTo>
                      <a:pt x="14589" y="32756"/>
                    </a:lnTo>
                    <a:cubicBezTo>
                      <a:pt x="14589" y="35470"/>
                      <a:pt x="15051" y="38042"/>
                      <a:pt x="15987" y="40448"/>
                    </a:cubicBezTo>
                    <a:cubicBezTo>
                      <a:pt x="16923" y="42865"/>
                      <a:pt x="18251" y="44975"/>
                      <a:pt x="19969" y="46788"/>
                    </a:cubicBezTo>
                    <a:cubicBezTo>
                      <a:pt x="21688" y="48601"/>
                      <a:pt x="23714" y="50035"/>
                      <a:pt x="26037" y="51090"/>
                    </a:cubicBezTo>
                    <a:cubicBezTo>
                      <a:pt x="28360" y="52145"/>
                      <a:pt x="30943" y="52678"/>
                      <a:pt x="33776" y="52678"/>
                    </a:cubicBezTo>
                    <a:cubicBezTo>
                      <a:pt x="36608" y="52678"/>
                      <a:pt x="39121" y="52169"/>
                      <a:pt x="41467" y="51138"/>
                    </a:cubicBezTo>
                    <a:cubicBezTo>
                      <a:pt x="43826" y="50106"/>
                      <a:pt x="45828" y="48696"/>
                      <a:pt x="47488" y="46883"/>
                    </a:cubicBezTo>
                    <a:cubicBezTo>
                      <a:pt x="49147" y="45070"/>
                      <a:pt x="50450" y="42972"/>
                      <a:pt x="51387" y="40590"/>
                    </a:cubicBezTo>
                    <a:cubicBezTo>
                      <a:pt x="52323" y="38208"/>
                      <a:pt x="52785" y="35660"/>
                      <a:pt x="52785" y="32934"/>
                    </a:cubicBezTo>
                    <a:lnTo>
                      <a:pt x="52785" y="32756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244BEE11-0F7F-4C07-F4CE-FD770551B575}"/>
                  </a:ext>
                </a:extLst>
              </p:cNvPr>
              <p:cNvSpPr/>
              <p:nvPr/>
            </p:nvSpPr>
            <p:spPr>
              <a:xfrm>
                <a:off x="1976552" y="6590654"/>
                <a:ext cx="67361" cy="65548"/>
              </a:xfrm>
              <a:custGeom>
                <a:avLst/>
                <a:gdLst>
                  <a:gd name="connsiteX0" fmla="*/ 64826 w 67361"/>
                  <a:gd name="connsiteY0" fmla="*/ 45485 h 65548"/>
                  <a:gd name="connsiteX1" fmla="*/ 57810 w 67361"/>
                  <a:gd name="connsiteY1" fmla="*/ 55902 h 65548"/>
                  <a:gd name="connsiteX2" fmla="*/ 47120 w 67361"/>
                  <a:gd name="connsiteY2" fmla="*/ 62965 h 65548"/>
                  <a:gd name="connsiteX3" fmla="*/ 33586 w 67361"/>
                  <a:gd name="connsiteY3" fmla="*/ 65548 h 65548"/>
                  <a:gd name="connsiteX4" fmla="*/ 20099 w 67361"/>
                  <a:gd name="connsiteY4" fmla="*/ 62965 h 65548"/>
                  <a:gd name="connsiteX5" fmla="*/ 9457 w 67361"/>
                  <a:gd name="connsiteY5" fmla="*/ 55996 h 65548"/>
                  <a:gd name="connsiteX6" fmla="*/ 2489 w 67361"/>
                  <a:gd name="connsiteY6" fmla="*/ 45674 h 65548"/>
                  <a:gd name="connsiteX7" fmla="*/ 0 w 67361"/>
                  <a:gd name="connsiteY7" fmla="*/ 32958 h 65548"/>
                  <a:gd name="connsiteX8" fmla="*/ 0 w 67361"/>
                  <a:gd name="connsiteY8" fmla="*/ 32780 h 65548"/>
                  <a:gd name="connsiteX9" fmla="*/ 2536 w 67361"/>
                  <a:gd name="connsiteY9" fmla="*/ 20064 h 65548"/>
                  <a:gd name="connsiteX10" fmla="*/ 9552 w 67361"/>
                  <a:gd name="connsiteY10" fmla="*/ 9647 h 65548"/>
                  <a:gd name="connsiteX11" fmla="*/ 20242 w 67361"/>
                  <a:gd name="connsiteY11" fmla="*/ 2584 h 65548"/>
                  <a:gd name="connsiteX12" fmla="*/ 33776 w 67361"/>
                  <a:gd name="connsiteY12" fmla="*/ 0 h 65548"/>
                  <a:gd name="connsiteX13" fmla="*/ 47262 w 67361"/>
                  <a:gd name="connsiteY13" fmla="*/ 2584 h 65548"/>
                  <a:gd name="connsiteX14" fmla="*/ 57905 w 67361"/>
                  <a:gd name="connsiteY14" fmla="*/ 9552 h 65548"/>
                  <a:gd name="connsiteX15" fmla="*/ 64873 w 67361"/>
                  <a:gd name="connsiteY15" fmla="*/ 19874 h 65548"/>
                  <a:gd name="connsiteX16" fmla="*/ 67362 w 67361"/>
                  <a:gd name="connsiteY16" fmla="*/ 32591 h 65548"/>
                  <a:gd name="connsiteX17" fmla="*/ 67362 w 67361"/>
                  <a:gd name="connsiteY17" fmla="*/ 32768 h 65548"/>
                  <a:gd name="connsiteX18" fmla="*/ 64826 w 67361"/>
                  <a:gd name="connsiteY18" fmla="*/ 45496 h 65548"/>
                  <a:gd name="connsiteX19" fmla="*/ 52785 w 67361"/>
                  <a:gd name="connsiteY19" fmla="*/ 32756 h 65548"/>
                  <a:gd name="connsiteX20" fmla="*/ 51387 w 67361"/>
                  <a:gd name="connsiteY20" fmla="*/ 25065 h 65548"/>
                  <a:gd name="connsiteX21" fmla="*/ 47405 w 67361"/>
                  <a:gd name="connsiteY21" fmla="*/ 18725 h 65548"/>
                  <a:gd name="connsiteX22" fmla="*/ 41289 w 67361"/>
                  <a:gd name="connsiteY22" fmla="*/ 14423 h 65548"/>
                  <a:gd name="connsiteX23" fmla="*/ 33598 w 67361"/>
                  <a:gd name="connsiteY23" fmla="*/ 12835 h 65548"/>
                  <a:gd name="connsiteX24" fmla="*/ 25859 w 67361"/>
                  <a:gd name="connsiteY24" fmla="*/ 14375 h 65548"/>
                  <a:gd name="connsiteX25" fmla="*/ 19886 w 67361"/>
                  <a:gd name="connsiteY25" fmla="*/ 18630 h 65548"/>
                  <a:gd name="connsiteX26" fmla="*/ 15987 w 67361"/>
                  <a:gd name="connsiteY26" fmla="*/ 24923 h 65548"/>
                  <a:gd name="connsiteX27" fmla="*/ 14589 w 67361"/>
                  <a:gd name="connsiteY27" fmla="*/ 32579 h 65548"/>
                  <a:gd name="connsiteX28" fmla="*/ 14589 w 67361"/>
                  <a:gd name="connsiteY28" fmla="*/ 32756 h 65548"/>
                  <a:gd name="connsiteX29" fmla="*/ 15987 w 67361"/>
                  <a:gd name="connsiteY29" fmla="*/ 40448 h 65548"/>
                  <a:gd name="connsiteX30" fmla="*/ 19969 w 67361"/>
                  <a:gd name="connsiteY30" fmla="*/ 46788 h 65548"/>
                  <a:gd name="connsiteX31" fmla="*/ 26037 w 67361"/>
                  <a:gd name="connsiteY31" fmla="*/ 51090 h 65548"/>
                  <a:gd name="connsiteX32" fmla="*/ 33776 w 67361"/>
                  <a:gd name="connsiteY32" fmla="*/ 52678 h 65548"/>
                  <a:gd name="connsiteX33" fmla="*/ 41467 w 67361"/>
                  <a:gd name="connsiteY33" fmla="*/ 51138 h 65548"/>
                  <a:gd name="connsiteX34" fmla="*/ 47487 w 67361"/>
                  <a:gd name="connsiteY34" fmla="*/ 46883 h 65548"/>
                  <a:gd name="connsiteX35" fmla="*/ 51387 w 67361"/>
                  <a:gd name="connsiteY35" fmla="*/ 40590 h 65548"/>
                  <a:gd name="connsiteX36" fmla="*/ 52785 w 67361"/>
                  <a:gd name="connsiteY36" fmla="*/ 32934 h 65548"/>
                  <a:gd name="connsiteX37" fmla="*/ 52785 w 67361"/>
                  <a:gd name="connsiteY37" fmla="*/ 32756 h 65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7361" h="65548">
                    <a:moveTo>
                      <a:pt x="64826" y="45485"/>
                    </a:moveTo>
                    <a:cubicBezTo>
                      <a:pt x="63131" y="49443"/>
                      <a:pt x="60796" y="52903"/>
                      <a:pt x="57810" y="55902"/>
                    </a:cubicBezTo>
                    <a:cubicBezTo>
                      <a:pt x="54823" y="58900"/>
                      <a:pt x="51256" y="61247"/>
                      <a:pt x="47120" y="62965"/>
                    </a:cubicBezTo>
                    <a:cubicBezTo>
                      <a:pt x="42984" y="64683"/>
                      <a:pt x="38469" y="65548"/>
                      <a:pt x="33586" y="65548"/>
                    </a:cubicBezTo>
                    <a:cubicBezTo>
                      <a:pt x="28703" y="65548"/>
                      <a:pt x="24200" y="64683"/>
                      <a:pt x="20099" y="62965"/>
                    </a:cubicBezTo>
                    <a:cubicBezTo>
                      <a:pt x="15999" y="61247"/>
                      <a:pt x="12444" y="58924"/>
                      <a:pt x="9457" y="55996"/>
                    </a:cubicBezTo>
                    <a:cubicBezTo>
                      <a:pt x="6471" y="53069"/>
                      <a:pt x="4148" y="49632"/>
                      <a:pt x="2489" y="45674"/>
                    </a:cubicBezTo>
                    <a:cubicBezTo>
                      <a:pt x="830" y="41716"/>
                      <a:pt x="0" y="37485"/>
                      <a:pt x="0" y="32958"/>
                    </a:cubicBezTo>
                    <a:lnTo>
                      <a:pt x="0" y="32780"/>
                    </a:lnTo>
                    <a:cubicBezTo>
                      <a:pt x="0" y="28253"/>
                      <a:pt x="841" y="24010"/>
                      <a:pt x="2536" y="20064"/>
                    </a:cubicBezTo>
                    <a:cubicBezTo>
                      <a:pt x="4231" y="16118"/>
                      <a:pt x="6566" y="12645"/>
                      <a:pt x="9552" y="9647"/>
                    </a:cubicBezTo>
                    <a:cubicBezTo>
                      <a:pt x="12538" y="6660"/>
                      <a:pt x="16106" y="4302"/>
                      <a:pt x="20242" y="2584"/>
                    </a:cubicBezTo>
                    <a:cubicBezTo>
                      <a:pt x="24378" y="865"/>
                      <a:pt x="28893" y="0"/>
                      <a:pt x="33776" y="0"/>
                    </a:cubicBezTo>
                    <a:cubicBezTo>
                      <a:pt x="38658" y="0"/>
                      <a:pt x="43162" y="865"/>
                      <a:pt x="47262" y="2584"/>
                    </a:cubicBezTo>
                    <a:cubicBezTo>
                      <a:pt x="51363" y="4302"/>
                      <a:pt x="54918" y="6625"/>
                      <a:pt x="57905" y="9552"/>
                    </a:cubicBezTo>
                    <a:cubicBezTo>
                      <a:pt x="60891" y="12479"/>
                      <a:pt x="63214" y="15916"/>
                      <a:pt x="64873" y="19874"/>
                    </a:cubicBezTo>
                    <a:cubicBezTo>
                      <a:pt x="66532" y="23833"/>
                      <a:pt x="67362" y="28063"/>
                      <a:pt x="67362" y="32591"/>
                    </a:cubicBezTo>
                    <a:lnTo>
                      <a:pt x="67362" y="32768"/>
                    </a:lnTo>
                    <a:cubicBezTo>
                      <a:pt x="67362" y="37295"/>
                      <a:pt x="66520" y="41538"/>
                      <a:pt x="64826" y="45496"/>
                    </a:cubicBezTo>
                    <a:close/>
                    <a:moveTo>
                      <a:pt x="52785" y="32756"/>
                    </a:moveTo>
                    <a:cubicBezTo>
                      <a:pt x="52785" y="30043"/>
                      <a:pt x="52323" y="27471"/>
                      <a:pt x="51387" y="25065"/>
                    </a:cubicBezTo>
                    <a:cubicBezTo>
                      <a:pt x="50450" y="22647"/>
                      <a:pt x="49123" y="20538"/>
                      <a:pt x="47405" y="18725"/>
                    </a:cubicBezTo>
                    <a:cubicBezTo>
                      <a:pt x="45686" y="16912"/>
                      <a:pt x="43648" y="15478"/>
                      <a:pt x="41289" y="14423"/>
                    </a:cubicBezTo>
                    <a:cubicBezTo>
                      <a:pt x="38931" y="13368"/>
                      <a:pt x="36371" y="12835"/>
                      <a:pt x="33598" y="12835"/>
                    </a:cubicBezTo>
                    <a:cubicBezTo>
                      <a:pt x="30825" y="12835"/>
                      <a:pt x="28182" y="13344"/>
                      <a:pt x="25859" y="14375"/>
                    </a:cubicBezTo>
                    <a:cubicBezTo>
                      <a:pt x="23536" y="15406"/>
                      <a:pt x="21545" y="16817"/>
                      <a:pt x="19886" y="18630"/>
                    </a:cubicBezTo>
                    <a:cubicBezTo>
                      <a:pt x="18227" y="20443"/>
                      <a:pt x="16923" y="22541"/>
                      <a:pt x="15987" y="24923"/>
                    </a:cubicBezTo>
                    <a:cubicBezTo>
                      <a:pt x="15051" y="27305"/>
                      <a:pt x="14589" y="29853"/>
                      <a:pt x="14589" y="32579"/>
                    </a:cubicBezTo>
                    <a:lnTo>
                      <a:pt x="14589" y="32756"/>
                    </a:lnTo>
                    <a:cubicBezTo>
                      <a:pt x="14589" y="35470"/>
                      <a:pt x="15051" y="38042"/>
                      <a:pt x="15987" y="40448"/>
                    </a:cubicBezTo>
                    <a:cubicBezTo>
                      <a:pt x="16923" y="42865"/>
                      <a:pt x="18251" y="44975"/>
                      <a:pt x="19969" y="46788"/>
                    </a:cubicBezTo>
                    <a:cubicBezTo>
                      <a:pt x="21688" y="48601"/>
                      <a:pt x="23714" y="50035"/>
                      <a:pt x="26037" y="51090"/>
                    </a:cubicBezTo>
                    <a:cubicBezTo>
                      <a:pt x="28360" y="52145"/>
                      <a:pt x="30943" y="52678"/>
                      <a:pt x="33776" y="52678"/>
                    </a:cubicBezTo>
                    <a:cubicBezTo>
                      <a:pt x="36608" y="52678"/>
                      <a:pt x="39121" y="52169"/>
                      <a:pt x="41467" y="51138"/>
                    </a:cubicBezTo>
                    <a:cubicBezTo>
                      <a:pt x="43825" y="50106"/>
                      <a:pt x="45828" y="48696"/>
                      <a:pt x="47487" y="46883"/>
                    </a:cubicBezTo>
                    <a:cubicBezTo>
                      <a:pt x="49147" y="45070"/>
                      <a:pt x="50450" y="42972"/>
                      <a:pt x="51387" y="40590"/>
                    </a:cubicBezTo>
                    <a:cubicBezTo>
                      <a:pt x="52323" y="38208"/>
                      <a:pt x="52785" y="35660"/>
                      <a:pt x="52785" y="32934"/>
                    </a:cubicBezTo>
                    <a:lnTo>
                      <a:pt x="52785" y="32756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D2FF4C8D-C1A9-95E3-82CB-AA3147FF2F60}"/>
                  </a:ext>
                </a:extLst>
              </p:cNvPr>
              <p:cNvSpPr/>
              <p:nvPr/>
            </p:nvSpPr>
            <p:spPr>
              <a:xfrm>
                <a:off x="2045181" y="6591543"/>
                <a:ext cx="96183" cy="64019"/>
              </a:xfrm>
              <a:custGeom>
                <a:avLst/>
                <a:gdLst>
                  <a:gd name="connsiteX0" fmla="*/ 74520 w 96183"/>
                  <a:gd name="connsiteY0" fmla="*/ 64020 h 64019"/>
                  <a:gd name="connsiteX1" fmla="*/ 62384 w 96183"/>
                  <a:gd name="connsiteY1" fmla="*/ 64020 h 64019"/>
                  <a:gd name="connsiteX2" fmla="*/ 48080 w 96183"/>
                  <a:gd name="connsiteY2" fmla="*/ 22553 h 64019"/>
                  <a:gd name="connsiteX3" fmla="*/ 33776 w 96183"/>
                  <a:gd name="connsiteY3" fmla="*/ 64020 h 64019"/>
                  <a:gd name="connsiteX4" fmla="*/ 21640 w 96183"/>
                  <a:gd name="connsiteY4" fmla="*/ 64020 h 64019"/>
                  <a:gd name="connsiteX5" fmla="*/ 0 w 96183"/>
                  <a:gd name="connsiteY5" fmla="*/ 190 h 64019"/>
                  <a:gd name="connsiteX6" fmla="*/ 14944 w 96183"/>
                  <a:gd name="connsiteY6" fmla="*/ 190 h 64019"/>
                  <a:gd name="connsiteX7" fmla="*/ 28075 w 96183"/>
                  <a:gd name="connsiteY7" fmla="*/ 43102 h 64019"/>
                  <a:gd name="connsiteX8" fmla="*/ 42297 w 96183"/>
                  <a:gd name="connsiteY8" fmla="*/ 0 h 64019"/>
                  <a:gd name="connsiteX9" fmla="*/ 54254 w 96183"/>
                  <a:gd name="connsiteY9" fmla="*/ 0 h 64019"/>
                  <a:gd name="connsiteX10" fmla="*/ 68476 w 96183"/>
                  <a:gd name="connsiteY10" fmla="*/ 43102 h 64019"/>
                  <a:gd name="connsiteX11" fmla="*/ 81607 w 96183"/>
                  <a:gd name="connsiteY11" fmla="*/ 190 h 64019"/>
                  <a:gd name="connsiteX12" fmla="*/ 96184 w 96183"/>
                  <a:gd name="connsiteY12" fmla="*/ 190 h 64019"/>
                  <a:gd name="connsiteX13" fmla="*/ 74544 w 96183"/>
                  <a:gd name="connsiteY13" fmla="*/ 64020 h 64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6183" h="64019">
                    <a:moveTo>
                      <a:pt x="74520" y="64020"/>
                    </a:moveTo>
                    <a:lnTo>
                      <a:pt x="62384" y="64020"/>
                    </a:lnTo>
                    <a:lnTo>
                      <a:pt x="48080" y="22553"/>
                    </a:lnTo>
                    <a:lnTo>
                      <a:pt x="33776" y="64020"/>
                    </a:lnTo>
                    <a:lnTo>
                      <a:pt x="21640" y="64020"/>
                    </a:lnTo>
                    <a:lnTo>
                      <a:pt x="0" y="190"/>
                    </a:lnTo>
                    <a:lnTo>
                      <a:pt x="14944" y="190"/>
                    </a:lnTo>
                    <a:lnTo>
                      <a:pt x="28075" y="43102"/>
                    </a:lnTo>
                    <a:lnTo>
                      <a:pt x="42297" y="0"/>
                    </a:lnTo>
                    <a:lnTo>
                      <a:pt x="54254" y="0"/>
                    </a:lnTo>
                    <a:lnTo>
                      <a:pt x="68476" y="43102"/>
                    </a:lnTo>
                    <a:lnTo>
                      <a:pt x="81607" y="190"/>
                    </a:lnTo>
                    <a:lnTo>
                      <a:pt x="96184" y="190"/>
                    </a:lnTo>
                    <a:lnTo>
                      <a:pt x="74544" y="64020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11E706A5-4ECA-7382-99AA-8FA32BDBB51C}"/>
                  </a:ext>
                </a:extLst>
              </p:cNvPr>
              <p:cNvSpPr/>
              <p:nvPr/>
            </p:nvSpPr>
            <p:spPr>
              <a:xfrm>
                <a:off x="1847244" y="6591863"/>
                <a:ext cx="54787" cy="63379"/>
              </a:xfrm>
              <a:custGeom>
                <a:avLst/>
                <a:gdLst>
                  <a:gd name="connsiteX0" fmla="*/ 36004 w 54787"/>
                  <a:gd name="connsiteY0" fmla="*/ 40744 h 63379"/>
                  <a:gd name="connsiteX1" fmla="*/ 49123 w 54787"/>
                  <a:gd name="connsiteY1" fmla="*/ 33633 h 63379"/>
                  <a:gd name="connsiteX2" fmla="*/ 52880 w 54787"/>
                  <a:gd name="connsiteY2" fmla="*/ 21095 h 63379"/>
                  <a:gd name="connsiteX3" fmla="*/ 52880 w 54787"/>
                  <a:gd name="connsiteY3" fmla="*/ 20917 h 63379"/>
                  <a:gd name="connsiteX4" fmla="*/ 46587 w 54787"/>
                  <a:gd name="connsiteY4" fmla="*/ 5523 h 63379"/>
                  <a:gd name="connsiteX5" fmla="*/ 28976 w 54787"/>
                  <a:gd name="connsiteY5" fmla="*/ 0 h 63379"/>
                  <a:gd name="connsiteX6" fmla="*/ 0 w 54787"/>
                  <a:gd name="connsiteY6" fmla="*/ 0 h 63379"/>
                  <a:gd name="connsiteX7" fmla="*/ 0 w 54787"/>
                  <a:gd name="connsiteY7" fmla="*/ 63380 h 63379"/>
                  <a:gd name="connsiteX8" fmla="*/ 13949 w 54787"/>
                  <a:gd name="connsiteY8" fmla="*/ 63380 h 63379"/>
                  <a:gd name="connsiteX9" fmla="*/ 13949 w 54787"/>
                  <a:gd name="connsiteY9" fmla="*/ 12586 h 63379"/>
                  <a:gd name="connsiteX10" fmla="*/ 27803 w 54787"/>
                  <a:gd name="connsiteY10" fmla="*/ 12586 h 63379"/>
                  <a:gd name="connsiteX11" fmla="*/ 35862 w 54787"/>
                  <a:gd name="connsiteY11" fmla="*/ 14849 h 63379"/>
                  <a:gd name="connsiteX12" fmla="*/ 38765 w 54787"/>
                  <a:gd name="connsiteY12" fmla="*/ 21640 h 63379"/>
                  <a:gd name="connsiteX13" fmla="*/ 38765 w 54787"/>
                  <a:gd name="connsiteY13" fmla="*/ 21818 h 63379"/>
                  <a:gd name="connsiteX14" fmla="*/ 36004 w 54787"/>
                  <a:gd name="connsiteY14" fmla="*/ 28336 h 63379"/>
                  <a:gd name="connsiteX15" fmla="*/ 28075 w 54787"/>
                  <a:gd name="connsiteY15" fmla="*/ 30777 h 63379"/>
                  <a:gd name="connsiteX16" fmla="*/ 20941 w 54787"/>
                  <a:gd name="connsiteY16" fmla="*/ 30777 h 63379"/>
                  <a:gd name="connsiteX17" fmla="*/ 20941 w 54787"/>
                  <a:gd name="connsiteY17" fmla="*/ 43091 h 63379"/>
                  <a:gd name="connsiteX18" fmla="*/ 36122 w 54787"/>
                  <a:gd name="connsiteY18" fmla="*/ 63368 h 63379"/>
                  <a:gd name="connsiteX19" fmla="*/ 54788 w 54787"/>
                  <a:gd name="connsiteY19" fmla="*/ 63368 h 63379"/>
                  <a:gd name="connsiteX20" fmla="*/ 36004 w 54787"/>
                  <a:gd name="connsiteY20" fmla="*/ 40732 h 63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4787" h="63379">
                    <a:moveTo>
                      <a:pt x="36004" y="40744"/>
                    </a:moveTo>
                    <a:cubicBezTo>
                      <a:pt x="43956" y="39038"/>
                      <a:pt x="46622" y="36869"/>
                      <a:pt x="49123" y="33633"/>
                    </a:cubicBezTo>
                    <a:cubicBezTo>
                      <a:pt x="51624" y="30398"/>
                      <a:pt x="52880" y="26227"/>
                      <a:pt x="52880" y="21095"/>
                    </a:cubicBezTo>
                    <a:lnTo>
                      <a:pt x="52880" y="20917"/>
                    </a:lnTo>
                    <a:cubicBezTo>
                      <a:pt x="52880" y="14340"/>
                      <a:pt x="50782" y="9208"/>
                      <a:pt x="46587" y="5523"/>
                    </a:cubicBezTo>
                    <a:cubicBezTo>
                      <a:pt x="42391" y="1837"/>
                      <a:pt x="36525" y="0"/>
                      <a:pt x="28976" y="0"/>
                    </a:cubicBezTo>
                    <a:lnTo>
                      <a:pt x="0" y="0"/>
                    </a:lnTo>
                    <a:lnTo>
                      <a:pt x="0" y="63380"/>
                    </a:lnTo>
                    <a:lnTo>
                      <a:pt x="13949" y="63380"/>
                    </a:lnTo>
                    <a:lnTo>
                      <a:pt x="13949" y="12586"/>
                    </a:lnTo>
                    <a:lnTo>
                      <a:pt x="27803" y="12586"/>
                    </a:lnTo>
                    <a:cubicBezTo>
                      <a:pt x="31240" y="12586"/>
                      <a:pt x="33930" y="13344"/>
                      <a:pt x="35862" y="14849"/>
                    </a:cubicBezTo>
                    <a:cubicBezTo>
                      <a:pt x="37793" y="16355"/>
                      <a:pt x="38765" y="18618"/>
                      <a:pt x="38765" y="21640"/>
                    </a:cubicBezTo>
                    <a:lnTo>
                      <a:pt x="38765" y="21818"/>
                    </a:lnTo>
                    <a:cubicBezTo>
                      <a:pt x="38765" y="24532"/>
                      <a:pt x="37841" y="26701"/>
                      <a:pt x="36004" y="28336"/>
                    </a:cubicBezTo>
                    <a:cubicBezTo>
                      <a:pt x="34167" y="29971"/>
                      <a:pt x="31524" y="30777"/>
                      <a:pt x="28075" y="30777"/>
                    </a:cubicBezTo>
                    <a:lnTo>
                      <a:pt x="20941" y="30777"/>
                    </a:lnTo>
                    <a:lnTo>
                      <a:pt x="20941" y="43091"/>
                    </a:lnTo>
                    <a:lnTo>
                      <a:pt x="36122" y="63368"/>
                    </a:lnTo>
                    <a:lnTo>
                      <a:pt x="54788" y="63368"/>
                    </a:lnTo>
                    <a:lnTo>
                      <a:pt x="36004" y="40732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8223FCB3-4C67-E5FE-1432-18567B7B82E5}"/>
                  </a:ext>
                </a:extLst>
              </p:cNvPr>
              <p:cNvSpPr/>
              <p:nvPr/>
            </p:nvSpPr>
            <p:spPr>
              <a:xfrm>
                <a:off x="1913895" y="6591863"/>
                <a:ext cx="54787" cy="63379"/>
              </a:xfrm>
              <a:custGeom>
                <a:avLst/>
                <a:gdLst>
                  <a:gd name="connsiteX0" fmla="*/ 36004 w 54787"/>
                  <a:gd name="connsiteY0" fmla="*/ 40744 h 63379"/>
                  <a:gd name="connsiteX1" fmla="*/ 49123 w 54787"/>
                  <a:gd name="connsiteY1" fmla="*/ 33633 h 63379"/>
                  <a:gd name="connsiteX2" fmla="*/ 52880 w 54787"/>
                  <a:gd name="connsiteY2" fmla="*/ 21095 h 63379"/>
                  <a:gd name="connsiteX3" fmla="*/ 52880 w 54787"/>
                  <a:gd name="connsiteY3" fmla="*/ 20917 h 63379"/>
                  <a:gd name="connsiteX4" fmla="*/ 46587 w 54787"/>
                  <a:gd name="connsiteY4" fmla="*/ 5523 h 63379"/>
                  <a:gd name="connsiteX5" fmla="*/ 28976 w 54787"/>
                  <a:gd name="connsiteY5" fmla="*/ 0 h 63379"/>
                  <a:gd name="connsiteX6" fmla="*/ 0 w 54787"/>
                  <a:gd name="connsiteY6" fmla="*/ 0 h 63379"/>
                  <a:gd name="connsiteX7" fmla="*/ 0 w 54787"/>
                  <a:gd name="connsiteY7" fmla="*/ 63380 h 63379"/>
                  <a:gd name="connsiteX8" fmla="*/ 13949 w 54787"/>
                  <a:gd name="connsiteY8" fmla="*/ 63380 h 63379"/>
                  <a:gd name="connsiteX9" fmla="*/ 13949 w 54787"/>
                  <a:gd name="connsiteY9" fmla="*/ 12586 h 63379"/>
                  <a:gd name="connsiteX10" fmla="*/ 27803 w 54787"/>
                  <a:gd name="connsiteY10" fmla="*/ 12586 h 63379"/>
                  <a:gd name="connsiteX11" fmla="*/ 35862 w 54787"/>
                  <a:gd name="connsiteY11" fmla="*/ 14849 h 63379"/>
                  <a:gd name="connsiteX12" fmla="*/ 38765 w 54787"/>
                  <a:gd name="connsiteY12" fmla="*/ 21640 h 63379"/>
                  <a:gd name="connsiteX13" fmla="*/ 38765 w 54787"/>
                  <a:gd name="connsiteY13" fmla="*/ 21818 h 63379"/>
                  <a:gd name="connsiteX14" fmla="*/ 36004 w 54787"/>
                  <a:gd name="connsiteY14" fmla="*/ 28336 h 63379"/>
                  <a:gd name="connsiteX15" fmla="*/ 28075 w 54787"/>
                  <a:gd name="connsiteY15" fmla="*/ 30777 h 63379"/>
                  <a:gd name="connsiteX16" fmla="*/ 20941 w 54787"/>
                  <a:gd name="connsiteY16" fmla="*/ 30777 h 63379"/>
                  <a:gd name="connsiteX17" fmla="*/ 20941 w 54787"/>
                  <a:gd name="connsiteY17" fmla="*/ 43091 h 63379"/>
                  <a:gd name="connsiteX18" fmla="*/ 36122 w 54787"/>
                  <a:gd name="connsiteY18" fmla="*/ 63368 h 63379"/>
                  <a:gd name="connsiteX19" fmla="*/ 54788 w 54787"/>
                  <a:gd name="connsiteY19" fmla="*/ 63368 h 63379"/>
                  <a:gd name="connsiteX20" fmla="*/ 36004 w 54787"/>
                  <a:gd name="connsiteY20" fmla="*/ 40732 h 63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4787" h="63379">
                    <a:moveTo>
                      <a:pt x="36004" y="40744"/>
                    </a:moveTo>
                    <a:cubicBezTo>
                      <a:pt x="43956" y="39038"/>
                      <a:pt x="46622" y="36869"/>
                      <a:pt x="49123" y="33633"/>
                    </a:cubicBezTo>
                    <a:cubicBezTo>
                      <a:pt x="51624" y="30398"/>
                      <a:pt x="52880" y="26227"/>
                      <a:pt x="52880" y="21095"/>
                    </a:cubicBezTo>
                    <a:lnTo>
                      <a:pt x="52880" y="20917"/>
                    </a:lnTo>
                    <a:cubicBezTo>
                      <a:pt x="52880" y="14340"/>
                      <a:pt x="50782" y="9208"/>
                      <a:pt x="46587" y="5523"/>
                    </a:cubicBezTo>
                    <a:cubicBezTo>
                      <a:pt x="42391" y="1837"/>
                      <a:pt x="36525" y="0"/>
                      <a:pt x="28976" y="0"/>
                    </a:cubicBezTo>
                    <a:lnTo>
                      <a:pt x="0" y="0"/>
                    </a:lnTo>
                    <a:lnTo>
                      <a:pt x="0" y="63380"/>
                    </a:lnTo>
                    <a:lnTo>
                      <a:pt x="13949" y="63380"/>
                    </a:lnTo>
                    <a:lnTo>
                      <a:pt x="13949" y="12586"/>
                    </a:lnTo>
                    <a:lnTo>
                      <a:pt x="27803" y="12586"/>
                    </a:lnTo>
                    <a:cubicBezTo>
                      <a:pt x="31240" y="12586"/>
                      <a:pt x="33930" y="13344"/>
                      <a:pt x="35862" y="14849"/>
                    </a:cubicBezTo>
                    <a:cubicBezTo>
                      <a:pt x="37793" y="16355"/>
                      <a:pt x="38765" y="18618"/>
                      <a:pt x="38765" y="21640"/>
                    </a:cubicBezTo>
                    <a:lnTo>
                      <a:pt x="38765" y="21818"/>
                    </a:lnTo>
                    <a:cubicBezTo>
                      <a:pt x="38765" y="24532"/>
                      <a:pt x="37841" y="26701"/>
                      <a:pt x="36004" y="28336"/>
                    </a:cubicBezTo>
                    <a:cubicBezTo>
                      <a:pt x="34167" y="29971"/>
                      <a:pt x="31524" y="30777"/>
                      <a:pt x="28075" y="30777"/>
                    </a:cubicBezTo>
                    <a:lnTo>
                      <a:pt x="20941" y="30777"/>
                    </a:lnTo>
                    <a:lnTo>
                      <a:pt x="20941" y="43091"/>
                    </a:lnTo>
                    <a:lnTo>
                      <a:pt x="36122" y="63368"/>
                    </a:lnTo>
                    <a:lnTo>
                      <a:pt x="54788" y="63368"/>
                    </a:lnTo>
                    <a:lnTo>
                      <a:pt x="36004" y="40732"/>
                    </a:lnTo>
                    <a:close/>
                  </a:path>
                </a:pathLst>
              </a:custGeom>
              <a:grpFill/>
              <a:ln w="11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404FF70E-0A85-DFE9-982A-6D27624C686C}"/>
                </a:ext>
              </a:extLst>
            </p:cNvPr>
            <p:cNvGrpSpPr/>
            <p:nvPr/>
          </p:nvGrpSpPr>
          <p:grpSpPr>
            <a:xfrm>
              <a:off x="289932" y="6281977"/>
              <a:ext cx="3496977" cy="129643"/>
              <a:chOff x="-20516" y="2052871"/>
              <a:chExt cx="5357137" cy="198605"/>
            </a:xfrm>
          </p:grpSpPr>
          <p:sp>
            <p:nvSpPr>
              <p:cNvPr id="9" name="AutoShape 24">
                <a:extLst>
                  <a:ext uri="{FF2B5EF4-FFF2-40B4-BE49-F238E27FC236}">
                    <a16:creationId xmlns:a16="http://schemas.microsoft.com/office/drawing/2014/main" id="{F2EE7D48-CC3D-38C5-8316-C9E52631C73D}"/>
                  </a:ext>
                </a:extLst>
              </p:cNvPr>
              <p:cNvSpPr/>
              <p:nvPr/>
            </p:nvSpPr>
            <p:spPr>
              <a:xfrm flipV="1">
                <a:off x="1032935" y="2052871"/>
                <a:ext cx="4303686" cy="0"/>
              </a:xfrm>
              <a:prstGeom prst="line">
                <a:avLst/>
              </a:prstGeom>
              <a:ln w="28575" cap="flat">
                <a:solidFill>
                  <a:schemeClr val="bg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ZA">
                  <a:solidFill>
                    <a:srgbClr val="1D428A"/>
                  </a:solidFill>
                </a:endParaRPr>
              </a:p>
            </p:txBody>
          </p:sp>
          <p:sp>
            <p:nvSpPr>
              <p:cNvPr id="10" name="AutoShape 24">
                <a:extLst>
                  <a:ext uri="{FF2B5EF4-FFF2-40B4-BE49-F238E27FC236}">
                    <a16:creationId xmlns:a16="http://schemas.microsoft.com/office/drawing/2014/main" id="{0BBEBC53-866E-E4B4-0CDF-F7C91424E4F0}"/>
                  </a:ext>
                </a:extLst>
              </p:cNvPr>
              <p:cNvSpPr/>
              <p:nvPr/>
            </p:nvSpPr>
            <p:spPr>
              <a:xfrm flipV="1">
                <a:off x="-20516" y="2052877"/>
                <a:ext cx="927307" cy="0"/>
              </a:xfrm>
              <a:prstGeom prst="line">
                <a:avLst/>
              </a:prstGeom>
              <a:ln w="28575" cap="flat">
                <a:solidFill>
                  <a:schemeClr val="bg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ZA">
                  <a:solidFill>
                    <a:srgbClr val="1D428A"/>
                  </a:solidFill>
                </a:endParaRPr>
              </a:p>
            </p:txBody>
          </p:sp>
          <p:sp>
            <p:nvSpPr>
              <p:cNvPr id="11" name="AutoShape 24">
                <a:extLst>
                  <a:ext uri="{FF2B5EF4-FFF2-40B4-BE49-F238E27FC236}">
                    <a16:creationId xmlns:a16="http://schemas.microsoft.com/office/drawing/2014/main" id="{75E000B9-184F-F82F-A3DF-1EB9F56A48D1}"/>
                  </a:ext>
                </a:extLst>
              </p:cNvPr>
              <p:cNvSpPr/>
              <p:nvPr/>
            </p:nvSpPr>
            <p:spPr>
              <a:xfrm flipH="1" flipV="1">
                <a:off x="968334" y="2131093"/>
                <a:ext cx="0" cy="120383"/>
              </a:xfrm>
              <a:prstGeom prst="line">
                <a:avLst/>
              </a:prstGeom>
              <a:ln w="28575" cap="flat">
                <a:solidFill>
                  <a:schemeClr val="bg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ZA">
                  <a:solidFill>
                    <a:srgbClr val="1D428A"/>
                  </a:solidFill>
                </a:endParaRPr>
              </a:p>
            </p:txBody>
          </p:sp>
        </p:grpSp>
      </p:grpSp>
      <p:sp>
        <p:nvSpPr>
          <p:cNvPr id="23" name="Title 22">
            <a:extLst>
              <a:ext uri="{FF2B5EF4-FFF2-40B4-BE49-F238E27FC236}">
                <a16:creationId xmlns:a16="http://schemas.microsoft.com/office/drawing/2014/main" id="{FCCC29C8-DFFE-E1C3-A09E-F10B3D39C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415" y="365125"/>
            <a:ext cx="3291893" cy="56065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C5E120F1-91F6-1D3B-78C7-BA2A347826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05091" y="365124"/>
            <a:ext cx="3470997" cy="560652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400">
                <a:solidFill>
                  <a:schemeClr val="tx2"/>
                </a:solidFill>
              </a:defRPr>
            </a:lvl1pPr>
            <a:lvl2pPr marL="457200" indent="0" algn="l">
              <a:buNone/>
              <a:defRPr sz="1600"/>
            </a:lvl2pPr>
            <a:lvl3pPr marL="914400" indent="0" algn="l">
              <a:buNone/>
              <a:defRPr sz="1600"/>
            </a:lvl3pPr>
            <a:lvl4pPr marL="1371600" indent="0" algn="l">
              <a:buNone/>
              <a:defRPr sz="1600"/>
            </a:lvl4pPr>
            <a:lvl5pPr marL="1828800" indent="0" algn="l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E30C7092-7BFA-9FA7-E0C6-4BAA3F7AC0B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0" y="0"/>
            <a:ext cx="4064000" cy="6858000"/>
          </a:xfrm>
          <a:prstGeom prst="rect">
            <a:avLst/>
          </a:prstGeom>
          <a:pattFill prst="pct20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endParaRPr lang="en-ZA"/>
          </a:p>
        </p:txBody>
      </p:sp>
      <p:sp>
        <p:nvSpPr>
          <p:cNvPr id="31" name="Slide Number Placeholder 2">
            <a:extLst>
              <a:ext uri="{FF2B5EF4-FFF2-40B4-BE49-F238E27FC236}">
                <a16:creationId xmlns:a16="http://schemas.microsoft.com/office/drawing/2014/main" id="{F0E28DE5-0E47-428D-97CC-89AAB0C62C38}"/>
              </a:ext>
            </a:extLst>
          </p:cNvPr>
          <p:cNvSpPr txBox="1">
            <a:spLocks/>
          </p:cNvSpPr>
          <p:nvPr userDrawn="1"/>
        </p:nvSpPr>
        <p:spPr>
          <a:xfrm>
            <a:off x="10925833" y="6419828"/>
            <a:ext cx="969962" cy="1968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anose="020B05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FEDB385-69FE-8239-1085-1B502EA01A23}"/>
              </a:ext>
            </a:extLst>
          </p:cNvPr>
          <p:cNvSpPr txBox="1"/>
          <p:nvPr userDrawn="1"/>
        </p:nvSpPr>
        <p:spPr>
          <a:xfrm>
            <a:off x="3047114" y="6611779"/>
            <a:ext cx="609777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AU" sz="1000">
                <a:solidFill>
                  <a:schemeClr val="bg1">
                    <a:lumMod val="50000"/>
                  </a:schemeClr>
                </a:solidFill>
              </a:rPr>
              <a:t>CONFIDENTIAL MATERIAL – DO NOT DISTRIBUTE </a:t>
            </a:r>
          </a:p>
        </p:txBody>
      </p:sp>
    </p:spTree>
    <p:extLst>
      <p:ext uri="{BB962C8B-B14F-4D97-AF65-F5344CB8AC3E}">
        <p14:creationId xmlns:p14="http://schemas.microsoft.com/office/powerpoint/2010/main" val="33647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ain Divider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41AD997-4FE3-4E46-4A1E-BFAB5ECAB54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9" name="Title 13">
            <a:extLst>
              <a:ext uri="{FF2B5EF4-FFF2-40B4-BE49-F238E27FC236}">
                <a16:creationId xmlns:a16="http://schemas.microsoft.com/office/drawing/2014/main" id="{03903220-B9C6-5FB7-67D7-B9E10850BA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7339" y="2332139"/>
            <a:ext cx="4930535" cy="152907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in-divider title</a:t>
            </a:r>
            <a:endParaRPr lang="en-ZA"/>
          </a:p>
        </p:txBody>
      </p:sp>
      <p:sp>
        <p:nvSpPr>
          <p:cNvPr id="12" name="AutoShape 24">
            <a:extLst>
              <a:ext uri="{FF2B5EF4-FFF2-40B4-BE49-F238E27FC236}">
                <a16:creationId xmlns:a16="http://schemas.microsoft.com/office/drawing/2014/main" id="{BAEF8273-976D-555E-D7B3-D3148DE906BA}"/>
              </a:ext>
            </a:extLst>
          </p:cNvPr>
          <p:cNvSpPr/>
          <p:nvPr userDrawn="1"/>
        </p:nvSpPr>
        <p:spPr>
          <a:xfrm flipV="1">
            <a:off x="1346022" y="4109329"/>
            <a:ext cx="4701852" cy="0"/>
          </a:xfrm>
          <a:prstGeom prst="line">
            <a:avLst/>
          </a:prstGeom>
          <a:ln w="38100" cap="flat">
            <a:solidFill>
              <a:schemeClr val="bg1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ZA">
              <a:solidFill>
                <a:srgbClr val="F4F9FD"/>
              </a:solidFill>
            </a:endParaRPr>
          </a:p>
        </p:txBody>
      </p:sp>
      <p:sp>
        <p:nvSpPr>
          <p:cNvPr id="13" name="AutoShape 24">
            <a:extLst>
              <a:ext uri="{FF2B5EF4-FFF2-40B4-BE49-F238E27FC236}">
                <a16:creationId xmlns:a16="http://schemas.microsoft.com/office/drawing/2014/main" id="{E9E2C59E-EA4D-BAE5-03DD-02947FB9FB66}"/>
              </a:ext>
            </a:extLst>
          </p:cNvPr>
          <p:cNvSpPr/>
          <p:nvPr userDrawn="1"/>
        </p:nvSpPr>
        <p:spPr>
          <a:xfrm flipV="1">
            <a:off x="0" y="4109329"/>
            <a:ext cx="1117340" cy="0"/>
          </a:xfrm>
          <a:prstGeom prst="line">
            <a:avLst/>
          </a:prstGeom>
          <a:ln w="38100" cap="flat">
            <a:solidFill>
              <a:schemeClr val="bg1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ZA">
              <a:solidFill>
                <a:srgbClr val="F4F9FD"/>
              </a:solidFill>
            </a:endParaRPr>
          </a:p>
        </p:txBody>
      </p:sp>
      <p:sp>
        <p:nvSpPr>
          <p:cNvPr id="14" name="AutoShape 24">
            <a:extLst>
              <a:ext uri="{FF2B5EF4-FFF2-40B4-BE49-F238E27FC236}">
                <a16:creationId xmlns:a16="http://schemas.microsoft.com/office/drawing/2014/main" id="{3CE7AF2A-9480-F452-CD17-C86B71536A1B}"/>
              </a:ext>
            </a:extLst>
          </p:cNvPr>
          <p:cNvSpPr/>
          <p:nvPr userDrawn="1"/>
        </p:nvSpPr>
        <p:spPr>
          <a:xfrm flipH="1" flipV="1">
            <a:off x="1239520" y="4239172"/>
            <a:ext cx="0" cy="475068"/>
          </a:xfrm>
          <a:prstGeom prst="line">
            <a:avLst/>
          </a:prstGeom>
          <a:ln w="38100" cap="flat">
            <a:solidFill>
              <a:schemeClr val="bg1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ZA">
              <a:solidFill>
                <a:srgbClr val="F4F9FD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40E59AB-F3F0-FD43-9254-9105A9D12A59}"/>
              </a:ext>
            </a:extLst>
          </p:cNvPr>
          <p:cNvSpPr txBox="1"/>
          <p:nvPr userDrawn="1"/>
        </p:nvSpPr>
        <p:spPr>
          <a:xfrm>
            <a:off x="3047114" y="6611779"/>
            <a:ext cx="609777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AU" sz="1000">
                <a:solidFill>
                  <a:schemeClr val="bg1"/>
                </a:solidFill>
              </a:rPr>
              <a:t>CONFIDENTIAL MATERIAL – DO NOT DISTRIBUTE </a:t>
            </a:r>
          </a:p>
        </p:txBody>
      </p:sp>
    </p:spTree>
    <p:extLst>
      <p:ext uri="{BB962C8B-B14F-4D97-AF65-F5344CB8AC3E}">
        <p14:creationId xmlns:p14="http://schemas.microsoft.com/office/powerpoint/2010/main" val="3126003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A2F31819-AF97-5FF6-03C3-9196BC1451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5E0691-C93E-4D61-8BB9-2D4B1F9B50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799" y="1273302"/>
            <a:ext cx="5920499" cy="1362076"/>
          </a:xfrm>
        </p:spPr>
        <p:txBody>
          <a:bodyPr anchor="t" anchorCtr="0"/>
          <a:lstStyle>
            <a:lvl1pPr algn="l">
              <a:defRPr sz="4200" spc="-200" baseline="0">
                <a:solidFill>
                  <a:schemeClr val="bg1"/>
                </a:solidFill>
              </a:defRPr>
            </a:lvl1pPr>
          </a:lstStyle>
          <a:p>
            <a:r>
              <a:rPr lang="en-AU" noProof="0"/>
              <a:t>Click to edit Master title sty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824C130-C324-E709-699E-47E57B86E6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4800" y="6152663"/>
            <a:ext cx="1884525" cy="400536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876AEA4-87EA-5475-32D8-0482D9FF1DF2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600824" y="6419850"/>
            <a:ext cx="5255175" cy="237600"/>
          </a:xfrm>
        </p:spPr>
        <p:txBody>
          <a:bodyPr wrap="none" anchor="ctr" anchorCtr="0"/>
          <a:lstStyle>
            <a:lvl1pPr marL="0" indent="0" algn="r">
              <a:spcBef>
                <a:spcPts val="0"/>
              </a:spcBef>
              <a:buNone/>
              <a:defRPr sz="900" b="0" spc="-2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1521878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5E0691-C93E-4D61-8BB9-2D4B1F9B50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800" y="1271173"/>
            <a:ext cx="4320000" cy="1990725"/>
          </a:xfrm>
        </p:spPr>
        <p:txBody>
          <a:bodyPr anchor="t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AU" sz="4200" b="1" kern="1200" spc="-200" baseline="0" noProof="0" dirty="0">
                <a:gradFill flip="none" rotWithShape="1">
                  <a:gsLst>
                    <a:gs pos="0">
                      <a:schemeClr val="accent2"/>
                    </a:gs>
                    <a:gs pos="7500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AU" noProof="0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88C0DCE-2040-68DC-DBF7-83F654F352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435F81-BFA6-4474-8106-E7BE2716A6C1}" type="datetime1">
              <a:rPr lang="en-AU" smtClean="0"/>
              <a:t>9/04/2025</a:t>
            </a:fld>
            <a:endParaRPr lang="en-AU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FE3BC28-0C0D-8C48-1DCE-BE999D727B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2025 Australia Pos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D187315-0339-CC3E-2BF1-256FB0F1CE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16B6A-336A-44FF-82DA-A4D1594FA055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510038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59A2AD-9E9B-466B-AD5B-0CB1B724FA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AU" noProof="0"/>
              <a:t>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5DB1DE-8D73-4AFA-95E5-57D6E62C0F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27916-2E2F-4370-8E76-AB001FE8074A}" type="datetime1">
              <a:rPr lang="en-AU" smtClean="0"/>
              <a:t>9/04/2025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CDE5F3-3665-4461-B770-070BFE327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2025 Australia Pos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AE5D6D-B1E7-41CE-A1BF-283239250B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16B6A-336A-44FF-82DA-A4D1594FA055}" type="slidenum">
              <a:rPr lang="en-AU" smtClean="0"/>
              <a:t>‹#›</a:t>
            </a:fld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F9015D-D5F1-4A9B-9BEE-7C8A6482F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noProof="0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D560C27-8488-AE50-7CEF-53E9B431C00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248650" y="6326981"/>
            <a:ext cx="3607349" cy="280988"/>
          </a:xfrm>
        </p:spPr>
        <p:txBody>
          <a:bodyPr wrap="square" anchor="b" anchorCtr="0"/>
          <a:lstStyle>
            <a:lvl1pPr marL="0" indent="0" algn="r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Footnote text which may go over two lines</a:t>
            </a:r>
          </a:p>
        </p:txBody>
      </p:sp>
    </p:spTree>
    <p:extLst>
      <p:ext uri="{BB962C8B-B14F-4D97-AF65-F5344CB8AC3E}">
        <p14:creationId xmlns:p14="http://schemas.microsoft.com/office/powerpoint/2010/main" val="39237178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59A2AD-9E9B-466B-AD5B-0CB1B724FA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01" y="1311112"/>
            <a:ext cx="5684400" cy="4824000"/>
          </a:xfrm>
        </p:spPr>
        <p:txBody>
          <a:bodyPr/>
          <a:lstStyle/>
          <a:p>
            <a:pPr lvl="0"/>
            <a:r>
              <a:rPr lang="en-AU" noProof="0"/>
              <a:t>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5DB1DE-8D73-4AFA-95E5-57D6E62C0F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86383-950A-44A0-9451-D1678C5F1AB2}" type="datetime1">
              <a:rPr lang="en-AU" smtClean="0"/>
              <a:t>9/04/2025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CDE5F3-3665-4461-B770-070BFE327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2025 Australia Pos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AE5D6D-B1E7-41CE-A1BF-283239250B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16B6A-336A-44FF-82DA-A4D1594FA055}" type="slidenum">
              <a:rPr lang="en-AU" smtClean="0"/>
              <a:t>‹#›</a:t>
            </a:fld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F9015D-D5F1-4A9B-9BEE-7C8A6482F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noProof="0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1839F4D-1F9C-3DE9-D2BA-D134751F590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173279" y="1311112"/>
            <a:ext cx="5682722" cy="4824000"/>
          </a:xfrm>
        </p:spPr>
        <p:txBody>
          <a:bodyPr/>
          <a:lstStyle/>
          <a:p>
            <a:pPr lvl="0"/>
            <a:r>
              <a:rPr lang="en-AU" noProof="0"/>
              <a:t>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D321711-4D69-E69D-FF7F-0B51C7B76E3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248650" y="6326981"/>
            <a:ext cx="3607349" cy="280988"/>
          </a:xfrm>
        </p:spPr>
        <p:txBody>
          <a:bodyPr wrap="square" anchor="b" anchorCtr="0"/>
          <a:lstStyle>
            <a:lvl1pPr marL="0" indent="0" algn="r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Footnote text which may go over two lines</a:t>
            </a:r>
          </a:p>
        </p:txBody>
      </p:sp>
    </p:spTree>
    <p:extLst>
      <p:ext uri="{BB962C8B-B14F-4D97-AF65-F5344CB8AC3E}">
        <p14:creationId xmlns:p14="http://schemas.microsoft.com/office/powerpoint/2010/main" val="29096505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+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5DB1DE-8D73-4AFA-95E5-57D6E62C0F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80936-E506-44C7-809D-F8C15C40C142}" type="datetime1">
              <a:rPr lang="en-AU" smtClean="0"/>
              <a:t>9/04/2025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CDE5F3-3665-4461-B770-070BFE327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2025 Australia Pos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AE5D6D-B1E7-41CE-A1BF-283239250B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16B6A-336A-44FF-82DA-A4D1594FA055}" type="slidenum">
              <a:rPr lang="en-AU" smtClean="0"/>
              <a:t>‹#›</a:t>
            </a:fld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F9015D-D5F1-4A9B-9BEE-7C8A6482F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noProof="0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D321711-4D69-E69D-FF7F-0B51C7B76E3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248650" y="6326981"/>
            <a:ext cx="3607349" cy="280988"/>
          </a:xfrm>
        </p:spPr>
        <p:txBody>
          <a:bodyPr wrap="square" anchor="b" anchorCtr="0"/>
          <a:lstStyle>
            <a:lvl1pPr marL="0" indent="0" algn="r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Footnote text which may go over two lin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0E7BE00-2307-EE86-0191-8940A5098842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541232" y="1277777"/>
            <a:ext cx="3538770" cy="1260000"/>
          </a:xfrm>
        </p:spPr>
        <p:txBody>
          <a:bodyPr wrap="square" anchor="t" anchorCtr="0"/>
          <a:lstStyle>
            <a:lvl1pPr marL="0" indent="0" algn="l">
              <a:spcBef>
                <a:spcPts val="0"/>
              </a:spcBef>
              <a:buNone/>
              <a:defRPr sz="1600" b="0" spc="-5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an introductory paragraph which may be as long as five lines.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317CA4F-1694-37F7-3C09-93394844350C}"/>
              </a:ext>
            </a:extLst>
          </p:cNvPr>
          <p:cNvSpPr/>
          <p:nvPr userDrawn="1"/>
        </p:nvSpPr>
        <p:spPr>
          <a:xfrm>
            <a:off x="336000" y="1311111"/>
            <a:ext cx="25400" cy="1152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2"/>
              </a:gs>
              <a:gs pos="30000">
                <a:schemeClr val="accent2"/>
              </a:gs>
              <a:gs pos="100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C3BF578-EFC2-B68C-F7EB-65C03A89A7A1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24000" y="1311112"/>
            <a:ext cx="3744000" cy="4824000"/>
          </a:xfrm>
        </p:spPr>
        <p:txBody>
          <a:bodyPr/>
          <a:lstStyle/>
          <a:p>
            <a:pPr lvl="0"/>
            <a:r>
              <a:rPr lang="en-AU" noProof="0"/>
              <a:t>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2CE62B6-D8DC-4864-6A6C-FCA6689287A8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12001" y="1311112"/>
            <a:ext cx="3744000" cy="4824000"/>
          </a:xfrm>
        </p:spPr>
        <p:txBody>
          <a:bodyPr/>
          <a:lstStyle/>
          <a:p>
            <a:pPr lvl="0"/>
            <a:r>
              <a:rPr lang="en-AU" noProof="0"/>
              <a:t>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00431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59A2AD-9E9B-466B-AD5B-0CB1B724FA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01" y="1311112"/>
            <a:ext cx="3744000" cy="4824000"/>
          </a:xfrm>
        </p:spPr>
        <p:txBody>
          <a:bodyPr/>
          <a:lstStyle/>
          <a:p>
            <a:pPr lvl="0"/>
            <a:r>
              <a:rPr lang="en-AU" noProof="0"/>
              <a:t>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5DB1DE-8D73-4AFA-95E5-57D6E62C0F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13A0A0-D112-4666-BB37-16845F4BA2C8}" type="datetime1">
              <a:rPr lang="en-AU" smtClean="0"/>
              <a:t>9/04/2025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CDE5F3-3665-4461-B770-070BFE327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2025 Australia Pos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AE5D6D-B1E7-41CE-A1BF-283239250B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16B6A-336A-44FF-82DA-A4D1594FA055}" type="slidenum">
              <a:rPr lang="en-AU" smtClean="0"/>
              <a:t>‹#›</a:t>
            </a:fld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F9015D-D5F1-4A9B-9BEE-7C8A6482F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noProof="0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1839F4D-1F9C-3DE9-D2BA-D134751F590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224000" y="1311112"/>
            <a:ext cx="3744000" cy="4824000"/>
          </a:xfrm>
        </p:spPr>
        <p:txBody>
          <a:bodyPr/>
          <a:lstStyle/>
          <a:p>
            <a:pPr lvl="0"/>
            <a:r>
              <a:rPr lang="en-AU" noProof="0"/>
              <a:t>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497C77C-A17F-0BA6-6808-D07AB4F11F4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12001" y="1311112"/>
            <a:ext cx="3744000" cy="4824000"/>
          </a:xfrm>
        </p:spPr>
        <p:txBody>
          <a:bodyPr/>
          <a:lstStyle/>
          <a:p>
            <a:pPr lvl="0"/>
            <a:r>
              <a:rPr lang="en-AU" noProof="0"/>
              <a:t>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9E38341-912E-9F31-E5A9-A813B003DD00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248650" y="6326981"/>
            <a:ext cx="3607349" cy="280988"/>
          </a:xfrm>
        </p:spPr>
        <p:txBody>
          <a:bodyPr wrap="square" anchor="b" anchorCtr="0"/>
          <a:lstStyle>
            <a:lvl1pPr marL="0" indent="0" algn="r">
              <a:spcBef>
                <a:spcPts val="0"/>
              </a:spcBef>
              <a:buNone/>
              <a:defRPr sz="900" b="0" spc="-2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 noProof="0"/>
              <a:t>Click to add Footnote text which may go over two lines</a:t>
            </a:r>
          </a:p>
        </p:txBody>
      </p:sp>
    </p:spTree>
    <p:extLst>
      <p:ext uri="{BB962C8B-B14F-4D97-AF65-F5344CB8AC3E}">
        <p14:creationId xmlns:p14="http://schemas.microsoft.com/office/powerpoint/2010/main" val="4241909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10B58A3-E193-4684-ABCE-DF0A8B6CD0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269081"/>
            <a:ext cx="9000000" cy="7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AU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F38D3A-1279-4066-93F5-53800A7962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6000" y="1311112"/>
            <a:ext cx="11520000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AU" noProof="0"/>
              <a:t>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  <a:p>
            <a:pPr lvl="5"/>
            <a:r>
              <a:rPr lang="en-AU" noProof="0"/>
              <a:t>Sixth level</a:t>
            </a:r>
          </a:p>
          <a:p>
            <a:pPr lvl="6"/>
            <a:r>
              <a:rPr lang="en-AU" noProof="0"/>
              <a:t>Seventh level</a:t>
            </a:r>
          </a:p>
          <a:p>
            <a:pPr lvl="7"/>
            <a:r>
              <a:rPr lang="en-AU" noProof="0"/>
              <a:t>Eight level</a:t>
            </a:r>
          </a:p>
          <a:p>
            <a:pPr lvl="8"/>
            <a:r>
              <a:rPr lang="en-AU" noProof="0"/>
              <a:t>Nin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EA2CD7-A72C-495B-9228-0E077D24D9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45550" y="6419850"/>
            <a:ext cx="720000" cy="238126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900" spc="-20" baseline="0">
                <a:solidFill>
                  <a:schemeClr val="tx1"/>
                </a:solidFill>
              </a:defRPr>
            </a:lvl1pPr>
          </a:lstStyle>
          <a:p>
            <a:fld id="{59796C27-0CE9-4FE5-8765-807B756AB1ED}" type="datetime1">
              <a:rPr lang="en-AU" smtClean="0"/>
              <a:t>9/04/2025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D43B1A-E254-4E8E-8D77-9053126860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5550" y="6419850"/>
            <a:ext cx="1800000" cy="238126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900" spc="-20" baseline="0">
                <a:solidFill>
                  <a:schemeClr val="tx1"/>
                </a:solidFill>
              </a:defRPr>
            </a:lvl1pPr>
          </a:lstStyle>
          <a:p>
            <a:r>
              <a:rPr lang="en-AU"/>
              <a:t>© 2025 Australia Pos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66D85B-9034-49C5-A86E-714985BCC2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6000" y="6419850"/>
            <a:ext cx="216000" cy="238126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900" b="1" spc="-20" baseline="0">
                <a:solidFill>
                  <a:schemeClr val="accent2"/>
                </a:solidFill>
              </a:defRPr>
            </a:lvl1pPr>
          </a:lstStyle>
          <a:p>
            <a:fld id="{E6316B6A-336A-44FF-82DA-A4D1594FA055}" type="slidenum">
              <a:rPr lang="en-AU" smtClean="0"/>
              <a:pPr/>
              <a:t>‹#›</a:t>
            </a:fld>
            <a:endParaRPr lang="en-AU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C254E1D-319D-9940-859D-FBF40724AE99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11634000" y="307417"/>
            <a:ext cx="558000" cy="5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886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9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675" r:id="rId16"/>
    <p:sldLayoutId id="2147483676" r:id="rId17"/>
    <p:sldLayoutId id="2147483677" r:id="rId18"/>
    <p:sldLayoutId id="2147483678" r:id="rId19"/>
    <p:sldLayoutId id="2147483680" r:id="rId20"/>
    <p:sldLayoutId id="2147483681" r:id="rId21"/>
    <p:sldLayoutId id="2147483682" r:id="rId22"/>
    <p:sldLayoutId id="2147483684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1" r:id="rId29"/>
    <p:sldLayoutId id="2147483692" r:id="rId30"/>
    <p:sldLayoutId id="2147483694" r:id="rId31"/>
    <p:sldLayoutId id="2147483695" r:id="rId32"/>
    <p:sldLayoutId id="2147483696" r:id="rId33"/>
    <p:sldLayoutId id="2147483697" r:id="rId34"/>
    <p:sldLayoutId id="2147483698" r:id="rId35"/>
    <p:sldLayoutId id="2147483699" r:id="rId36"/>
    <p:sldLayoutId id="2147483700" r:id="rId37"/>
    <p:sldLayoutId id="2147483701" r:id="rId3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 spc="-100" baseline="0">
          <a:gradFill flip="none" rotWithShape="1">
            <a:gsLst>
              <a:gs pos="0">
                <a:schemeClr val="accent2"/>
              </a:gs>
              <a:gs pos="7500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•"/>
        <a:defRPr sz="1200" kern="1200" spc="-50" baseline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AP Type Text" panose="020B0503030202060203" pitchFamily="34" charset="0"/>
        <a:buChar char="–"/>
        <a:defRPr sz="1200" kern="1200" spc="-50" baseline="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0000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AP Type Text" panose="020B0503030202060203" pitchFamily="34" charset="0"/>
        <a:buChar char="–"/>
        <a:defRPr sz="1200" kern="1200" spc="-50" baseline="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80000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AP Type Text" panose="020B0503030202060203" pitchFamily="34" charset="0"/>
        <a:buChar char="–"/>
        <a:defRPr sz="1200" kern="1200" spc="-50" baseline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AP Type Text" panose="020B0503030202060203" pitchFamily="34" charset="0"/>
        <a:buChar char="–"/>
        <a:defRPr sz="1200" kern="1200" spc="-50" baseline="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AP Type Text" panose="020B05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AP Type Text" panose="020B05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438275" indent="-180000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AP Type Text" panose="020B05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AP Type Text" panose="020B05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3" Type="http://schemas.openxmlformats.org/officeDocument/2006/relationships/image" Target="../media/image11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48.jpeg"/><Relationship Id="rId9" Type="http://schemas.openxmlformats.org/officeDocument/2006/relationships/image" Target="../media/image5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7.xml"/><Relationship Id="rId6" Type="http://schemas.microsoft.com/office/2007/relationships/hdphoto" Target="../media/hdphoto1.wdp"/><Relationship Id="rId5" Type="http://schemas.openxmlformats.org/officeDocument/2006/relationships/image" Target="../media/image58.png"/><Relationship Id="rId4" Type="http://schemas.openxmlformats.org/officeDocument/2006/relationships/image" Target="../media/image57.sv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1.png"/><Relationship Id="rId7" Type="http://schemas.openxmlformats.org/officeDocument/2006/relationships/image" Target="../media/image14.sv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.xml"/><Relationship Id="rId6" Type="http://schemas.openxmlformats.org/officeDocument/2006/relationships/image" Target="../media/image13.png"/><Relationship Id="rId11" Type="http://schemas.openxmlformats.org/officeDocument/2006/relationships/chart" Target="../charts/chart2.xml"/><Relationship Id="rId5" Type="http://schemas.openxmlformats.org/officeDocument/2006/relationships/image" Target="../media/image12.emf"/><Relationship Id="rId10" Type="http://schemas.openxmlformats.org/officeDocument/2006/relationships/chart" Target="../charts/chart1.xml"/><Relationship Id="rId4" Type="http://schemas.openxmlformats.org/officeDocument/2006/relationships/oleObject" Target="../embeddings/oleObject1.bin"/><Relationship Id="rId9" Type="http://schemas.openxmlformats.org/officeDocument/2006/relationships/image" Target="../media/image16.sv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14/relationships/chartEx" Target="../charts/chartEx1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13" Type="http://schemas.openxmlformats.org/officeDocument/2006/relationships/chart" Target="../charts/chart12.xml"/><Relationship Id="rId3" Type="http://schemas.openxmlformats.org/officeDocument/2006/relationships/image" Target="../media/image11.png"/><Relationship Id="rId7" Type="http://schemas.openxmlformats.org/officeDocument/2006/relationships/chart" Target="../charts/chart6.xml"/><Relationship Id="rId12" Type="http://schemas.openxmlformats.org/officeDocument/2006/relationships/chart" Target="../charts/chart1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6" Type="http://schemas.openxmlformats.org/officeDocument/2006/relationships/chart" Target="../charts/chart5.xml"/><Relationship Id="rId11" Type="http://schemas.openxmlformats.org/officeDocument/2006/relationships/chart" Target="../charts/chart10.xml"/><Relationship Id="rId5" Type="http://schemas.openxmlformats.org/officeDocument/2006/relationships/chart" Target="../charts/chart4.xml"/><Relationship Id="rId10" Type="http://schemas.openxmlformats.org/officeDocument/2006/relationships/chart" Target="../charts/chart9.xml"/><Relationship Id="rId4" Type="http://schemas.openxmlformats.org/officeDocument/2006/relationships/chart" Target="../charts/chart3.xml"/><Relationship Id="rId9" Type="http://schemas.openxmlformats.org/officeDocument/2006/relationships/chart" Target="../charts/char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4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7.png"/><Relationship Id="rId4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56868019-1287-3BD7-503C-CD2FA191E3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4607" y="1273302"/>
            <a:ext cx="5920499" cy="1362076"/>
          </a:xfrm>
        </p:spPr>
        <p:txBody>
          <a:bodyPr/>
          <a:lstStyle/>
          <a:p>
            <a:r>
              <a:rPr lang="en-AU"/>
              <a:t>Aussie Underdogs and Global Goliaths: Competing in eCommerc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C503A3ED-C41B-3415-68A6-864985819845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34856" y="3649481"/>
            <a:ext cx="5760000" cy="259200"/>
          </a:xfrm>
        </p:spPr>
        <p:txBody>
          <a:bodyPr/>
          <a:lstStyle/>
          <a:p>
            <a:r>
              <a:rPr lang="en-AU"/>
              <a:t>10 April 2025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7F29E30-730D-F30E-2D84-984D7607ED5F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en-AU"/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BBBA6265-45F6-6F0F-5051-C7F397E2B62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63" r="12363"/>
          <a:stretch/>
        </p:blipFill>
        <p:spPr>
          <a:xfrm>
            <a:off x="6167594" y="-1"/>
            <a:ext cx="6024406" cy="6858000"/>
          </a:xfrm>
        </p:spPr>
      </p:pic>
    </p:spTree>
    <p:extLst>
      <p:ext uri="{BB962C8B-B14F-4D97-AF65-F5344CB8AC3E}">
        <p14:creationId xmlns:p14="http://schemas.microsoft.com/office/powerpoint/2010/main" val="25828434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BA1B91-7EA2-3166-AC8B-5B27B5860F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white circle with black border&#10;&#10;AI-generated content may be incorrect.">
            <a:extLst>
              <a:ext uri="{FF2B5EF4-FFF2-40B4-BE49-F238E27FC236}">
                <a16:creationId xmlns:a16="http://schemas.microsoft.com/office/drawing/2014/main" id="{537E59DC-24B3-2C5F-33DB-5934004C911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9524" r="-21583"/>
          <a:stretch/>
        </p:blipFill>
        <p:spPr>
          <a:xfrm>
            <a:off x="4383449" y="1058334"/>
            <a:ext cx="7498253" cy="5005917"/>
          </a:xfrm>
          <a:prstGeom prst="roundRect">
            <a:avLst>
              <a:gd name="adj" fmla="val 5939"/>
            </a:avLst>
          </a:prstGeom>
          <a:solidFill>
            <a:schemeClr val="bg1"/>
          </a:solidFill>
          <a:effectLst>
            <a:innerShdw blurRad="63500">
              <a:schemeClr val="bg2"/>
            </a:innerShdw>
          </a:effectLst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CF0DDFA-FB55-B080-0600-F2A3EEB2F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16B6A-336A-44FF-82DA-A4D1594FA055}" type="slidenum">
              <a:rPr kumimoji="0" lang="en-AU" sz="900" b="1" i="0" u="none" strike="noStrike" kern="1200" cap="none" spc="-20" normalizeH="0" baseline="0" noProof="0" smtClean="0">
                <a:ln>
                  <a:noFill/>
                </a:ln>
                <a:solidFill>
                  <a:srgbClr val="DC1928"/>
                </a:solidFill>
                <a:effectLst/>
                <a:uLnTx/>
                <a:uFillTx/>
                <a:latin typeface="AP Type Tex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AU" sz="900" b="1" i="0" u="none" strike="noStrike" kern="1200" cap="none" spc="-20" normalizeH="0" baseline="0" noProof="0">
              <a:ln>
                <a:noFill/>
              </a:ln>
              <a:solidFill>
                <a:srgbClr val="DC1928"/>
              </a:solidFill>
              <a:effectLst/>
              <a:uLnTx/>
              <a:uFillTx/>
              <a:latin typeface="AP Type Text"/>
              <a:ea typeface="+mn-ea"/>
              <a:cs typeface="+mn-cs"/>
            </a:endParaRPr>
          </a:p>
        </p:txBody>
      </p:sp>
      <p:sp>
        <p:nvSpPr>
          <p:cNvPr id="13" name="Footer Placeholder 8">
            <a:extLst>
              <a:ext uri="{FF2B5EF4-FFF2-40B4-BE49-F238E27FC236}">
                <a16:creationId xmlns:a16="http://schemas.microsoft.com/office/drawing/2014/main" id="{7DB0F639-9CA7-1D04-6A82-8B36246896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5550" y="6419850"/>
            <a:ext cx="2199737" cy="23812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-20" normalizeH="0" baseline="0" noProof="0">
                <a:ln>
                  <a:noFill/>
                </a:ln>
                <a:solidFill>
                  <a:srgbClr val="212129"/>
                </a:solidFill>
                <a:effectLst/>
                <a:uLnTx/>
                <a:uFillTx/>
                <a:latin typeface="AP Type Text"/>
                <a:ea typeface="+mn-ea"/>
                <a:cs typeface="+mn-cs"/>
              </a:rPr>
              <a:t>© 2025 Australia Post</a:t>
            </a:r>
          </a:p>
        </p:txBody>
      </p:sp>
      <p:sp>
        <p:nvSpPr>
          <p:cNvPr id="7" name="Title 11">
            <a:extLst>
              <a:ext uri="{FF2B5EF4-FFF2-40B4-BE49-F238E27FC236}">
                <a16:creationId xmlns:a16="http://schemas.microsoft.com/office/drawing/2014/main" id="{FA24E823-EF10-BD3E-01BB-E8566EB73C57}"/>
              </a:ext>
            </a:extLst>
          </p:cNvPr>
          <p:cNvSpPr txBox="1">
            <a:spLocks/>
          </p:cNvSpPr>
          <p:nvPr/>
        </p:nvSpPr>
        <p:spPr>
          <a:xfrm>
            <a:off x="336000" y="269081"/>
            <a:ext cx="9993705" cy="7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spc="-100" baseline="0">
                <a:gradFill flip="none" rotWithShape="1">
                  <a:gsLst>
                    <a:gs pos="0">
                      <a:schemeClr val="accent2"/>
                    </a:gs>
                    <a:gs pos="7500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200" b="1" i="0" u="none" strike="noStrike" kern="1200" cap="none" spc="-100" normalizeH="0" baseline="0" noProof="0">
                <a:ln>
                  <a:noFill/>
                </a:ln>
                <a:gradFill flip="none">
                  <a:gsLst>
                    <a:gs pos="0">
                      <a:srgbClr val="DC1928"/>
                    </a:gs>
                    <a:gs pos="75000">
                      <a:srgbClr val="DC1928"/>
                    </a:gs>
                    <a:gs pos="100000">
                      <a:srgbClr val="F51482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AP Type Text"/>
                <a:ea typeface="+mj-ea"/>
                <a:cs typeface="+mj-cs"/>
              </a:rPr>
              <a:t>Global Recommerce Market</a:t>
            </a:r>
          </a:p>
        </p:txBody>
      </p:sp>
      <p:sp>
        <p:nvSpPr>
          <p:cNvPr id="31" name="Title 11">
            <a:extLst>
              <a:ext uri="{FF2B5EF4-FFF2-40B4-BE49-F238E27FC236}">
                <a16:creationId xmlns:a16="http://schemas.microsoft.com/office/drawing/2014/main" id="{EC8BD006-B8DA-36F6-0F78-1520A67777B9}"/>
              </a:ext>
            </a:extLst>
          </p:cNvPr>
          <p:cNvSpPr txBox="1">
            <a:spLocks/>
          </p:cNvSpPr>
          <p:nvPr/>
        </p:nvSpPr>
        <p:spPr>
          <a:xfrm>
            <a:off x="600720" y="3300022"/>
            <a:ext cx="3486575" cy="120032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spc="-100" baseline="0">
                <a:gradFill flip="none" rotWithShape="1">
                  <a:gsLst>
                    <a:gs pos="0">
                      <a:schemeClr val="accent2"/>
                    </a:gs>
                    <a:gs pos="7500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AU" sz="1600" b="0" spc="0">
                <a:solidFill>
                  <a:schemeClr val="tx1"/>
                </a:solidFill>
              </a:rPr>
              <a:t>Estimated USD value of global recommerce market in 2024.</a:t>
            </a:r>
          </a:p>
          <a:p>
            <a:pPr>
              <a:lnSpc>
                <a:spcPct val="100000"/>
              </a:lnSpc>
            </a:pPr>
            <a:endParaRPr lang="en-AU" sz="1800" b="0" spc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</a:pPr>
            <a:endParaRPr lang="en-US" sz="2800" b="0" spc="0">
              <a:solidFill>
                <a:schemeClr val="tx1"/>
              </a:solidFill>
            </a:endParaRPr>
          </a:p>
        </p:txBody>
      </p:sp>
      <p:sp>
        <p:nvSpPr>
          <p:cNvPr id="32" name="Title 11">
            <a:extLst>
              <a:ext uri="{FF2B5EF4-FFF2-40B4-BE49-F238E27FC236}">
                <a16:creationId xmlns:a16="http://schemas.microsoft.com/office/drawing/2014/main" id="{FDC36CDB-EA9C-BB65-1F2E-1B93740710B8}"/>
              </a:ext>
            </a:extLst>
          </p:cNvPr>
          <p:cNvSpPr txBox="1">
            <a:spLocks/>
          </p:cNvSpPr>
          <p:nvPr/>
        </p:nvSpPr>
        <p:spPr>
          <a:xfrm>
            <a:off x="600720" y="2857636"/>
            <a:ext cx="3156651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spc="-100" baseline="0">
                <a:gradFill flip="none" rotWithShape="1">
                  <a:gsLst>
                    <a:gs pos="0">
                      <a:schemeClr val="accent2"/>
                    </a:gs>
                    <a:gs pos="7500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solidFill>
                  <a:schemeClr val="tx1"/>
                </a:solidFill>
              </a:rPr>
              <a:t>$292 million</a:t>
            </a:r>
            <a:endParaRPr lang="en-US" sz="3200" b="0" spc="0">
              <a:solidFill>
                <a:schemeClr val="tx1"/>
              </a:solidFill>
            </a:endParaRPr>
          </a:p>
        </p:txBody>
      </p:sp>
      <p:pic>
        <p:nvPicPr>
          <p:cNvPr id="2" name="Picture 1" descr="A hand holding a credit card&#10;&#10;AI-generated content may be incorrect.">
            <a:extLst>
              <a:ext uri="{FF2B5EF4-FFF2-40B4-BE49-F238E27FC236}">
                <a16:creationId xmlns:a16="http://schemas.microsoft.com/office/drawing/2014/main" id="{EF473AA5-A99B-29AE-85EF-0C6F0F73924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9858" t="19588" r="4151" b="13058"/>
          <a:stretch/>
        </p:blipFill>
        <p:spPr>
          <a:xfrm>
            <a:off x="219582" y="3973247"/>
            <a:ext cx="2405059" cy="1788580"/>
          </a:xfrm>
          <a:prstGeom prst="rect">
            <a:avLst/>
          </a:prstGeom>
          <a:ln>
            <a:noFill/>
          </a:ln>
        </p:spPr>
      </p:pic>
      <p:sp>
        <p:nvSpPr>
          <p:cNvPr id="3" name="Title 11">
            <a:extLst>
              <a:ext uri="{FF2B5EF4-FFF2-40B4-BE49-F238E27FC236}">
                <a16:creationId xmlns:a16="http://schemas.microsoft.com/office/drawing/2014/main" id="{DA50FF33-A493-2258-6549-0B2915C5FE9E}"/>
              </a:ext>
            </a:extLst>
          </p:cNvPr>
          <p:cNvSpPr txBox="1">
            <a:spLocks/>
          </p:cNvSpPr>
          <p:nvPr/>
        </p:nvSpPr>
        <p:spPr>
          <a:xfrm>
            <a:off x="1627302" y="4867394"/>
            <a:ext cx="3156651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spc="-100" baseline="0">
                <a:gradFill flip="none" rotWithShape="1">
                  <a:gsLst>
                    <a:gs pos="0">
                      <a:schemeClr val="accent2"/>
                    </a:gs>
                    <a:gs pos="7500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+mj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chemeClr val="tx1"/>
                </a:solidFill>
              </a:rPr>
              <a:t>x2.5 growth</a:t>
            </a:r>
            <a:endParaRPr lang="en-US" sz="3200" b="0" spc="0">
              <a:solidFill>
                <a:schemeClr val="tx1"/>
              </a:solidFill>
            </a:endParaRPr>
          </a:p>
        </p:txBody>
      </p:sp>
      <p:sp>
        <p:nvSpPr>
          <p:cNvPr id="4" name="Title 11">
            <a:extLst>
              <a:ext uri="{FF2B5EF4-FFF2-40B4-BE49-F238E27FC236}">
                <a16:creationId xmlns:a16="http://schemas.microsoft.com/office/drawing/2014/main" id="{A4933BCF-ABD2-E027-32C6-440A962273EC}"/>
              </a:ext>
            </a:extLst>
          </p:cNvPr>
          <p:cNvSpPr txBox="1">
            <a:spLocks/>
          </p:cNvSpPr>
          <p:nvPr/>
        </p:nvSpPr>
        <p:spPr>
          <a:xfrm>
            <a:off x="1627303" y="5310363"/>
            <a:ext cx="3486575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spc="-100" baseline="0">
                <a:gradFill flip="none" rotWithShape="1">
                  <a:gsLst>
                    <a:gs pos="0">
                      <a:schemeClr val="accent2"/>
                    </a:gs>
                    <a:gs pos="7500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+mj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AU" sz="1600" b="0" spc="0">
                <a:solidFill>
                  <a:schemeClr val="tx1"/>
                </a:solidFill>
              </a:rPr>
              <a:t>The rate of retail growth</a:t>
            </a:r>
            <a:endParaRPr lang="en-US" sz="1600" b="0" spc="0">
              <a:solidFill>
                <a:schemeClr val="tx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281133-E834-95E3-0513-12B41237E141}"/>
              </a:ext>
            </a:extLst>
          </p:cNvPr>
          <p:cNvGrpSpPr/>
          <p:nvPr/>
        </p:nvGrpSpPr>
        <p:grpSpPr>
          <a:xfrm>
            <a:off x="6099926" y="1752674"/>
            <a:ext cx="4138316" cy="3855857"/>
            <a:chOff x="5771843" y="1318757"/>
            <a:chExt cx="3324398" cy="3120746"/>
          </a:xfrm>
          <a:solidFill>
            <a:schemeClr val="tx2">
              <a:lumMod val="90000"/>
            </a:schemeClr>
          </a:solidFill>
        </p:grpSpPr>
        <p:pic>
          <p:nvPicPr>
            <p:cNvPr id="23" name="Graphic 36">
              <a:extLst>
                <a:ext uri="{FF2B5EF4-FFF2-40B4-BE49-F238E27FC236}">
                  <a16:creationId xmlns:a16="http://schemas.microsoft.com/office/drawing/2014/main" id="{F5C344D4-1174-F1DE-6B5D-B29F9289700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71843" y="1318757"/>
              <a:ext cx="3324398" cy="3120746"/>
            </a:xfrm>
            <a:prstGeom prst="rect">
              <a:avLst/>
            </a:prstGeom>
          </p:spPr>
        </p:pic>
        <p:pic>
          <p:nvPicPr>
            <p:cNvPr id="24" name="Graphic 38">
              <a:extLst>
                <a:ext uri="{FF2B5EF4-FFF2-40B4-BE49-F238E27FC236}">
                  <a16:creationId xmlns:a16="http://schemas.microsoft.com/office/drawing/2014/main" id="{A51DD10C-B6F5-5D35-3667-2B3BB553F9F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763017" y="2517245"/>
              <a:ext cx="263763" cy="353444"/>
            </a:xfrm>
            <a:prstGeom prst="rect">
              <a:avLst/>
            </a:prstGeom>
          </p:spPr>
        </p:pic>
        <p:pic>
          <p:nvPicPr>
            <p:cNvPr id="25" name="Graphic 39">
              <a:extLst>
                <a:ext uri="{FF2B5EF4-FFF2-40B4-BE49-F238E27FC236}">
                  <a16:creationId xmlns:a16="http://schemas.microsoft.com/office/drawing/2014/main" id="{B3836A01-85D8-5FE4-65EB-16DBE8DCB31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259929" y="3451883"/>
              <a:ext cx="263763" cy="353444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83E7E8A-3E50-B835-C1DE-EDB9754D6C8D}"/>
              </a:ext>
            </a:extLst>
          </p:cNvPr>
          <p:cNvGrpSpPr/>
          <p:nvPr/>
        </p:nvGrpSpPr>
        <p:grpSpPr>
          <a:xfrm>
            <a:off x="4953607" y="2495587"/>
            <a:ext cx="6694777" cy="2840454"/>
            <a:chOff x="4664703" y="2325287"/>
            <a:chExt cx="6899021" cy="3163108"/>
          </a:xfrm>
        </p:grpSpPr>
        <p:sp>
          <p:nvSpPr>
            <p:cNvPr id="19" name="TextBox 14">
              <a:extLst>
                <a:ext uri="{FF2B5EF4-FFF2-40B4-BE49-F238E27FC236}">
                  <a16:creationId xmlns:a16="http://schemas.microsoft.com/office/drawing/2014/main" id="{AE8E1641-6016-1494-F172-B53D92CB1921}"/>
                </a:ext>
              </a:extLst>
            </p:cNvPr>
            <p:cNvSpPr txBox="1"/>
            <p:nvPr/>
          </p:nvSpPr>
          <p:spPr>
            <a:xfrm>
              <a:off x="9197829" y="4041845"/>
              <a:ext cx="665567" cy="14465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800" spc="-50"/>
                <a:t>”</a:t>
              </a:r>
              <a:endParaRPr lang="en-AU" sz="8800" spc="-50" err="1"/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1CB2174-36D2-754B-6B48-3D3043F98C08}"/>
                </a:ext>
              </a:extLst>
            </p:cNvPr>
            <p:cNvGrpSpPr/>
            <p:nvPr/>
          </p:nvGrpSpPr>
          <p:grpSpPr>
            <a:xfrm>
              <a:off x="4664703" y="2325287"/>
              <a:ext cx="6899021" cy="2612580"/>
              <a:chOff x="4664703" y="2325287"/>
              <a:chExt cx="6899021" cy="2612580"/>
            </a:xfrm>
          </p:grpSpPr>
          <p:sp>
            <p:nvSpPr>
              <p:cNvPr id="21" name="TextBox 8">
                <a:extLst>
                  <a:ext uri="{FF2B5EF4-FFF2-40B4-BE49-F238E27FC236}">
                    <a16:creationId xmlns:a16="http://schemas.microsoft.com/office/drawing/2014/main" id="{1EA5DC70-13B4-96B9-2BDB-D1C804E37632}"/>
                  </a:ext>
                </a:extLst>
              </p:cNvPr>
              <p:cNvSpPr txBox="1"/>
              <p:nvPr/>
            </p:nvSpPr>
            <p:spPr>
              <a:xfrm flipH="1">
                <a:off x="4664703" y="2325287"/>
                <a:ext cx="497247" cy="14465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8800" spc="-50"/>
                  <a:t>“</a:t>
                </a:r>
                <a:endParaRPr lang="en-AU" sz="8800" spc="-50" err="1"/>
              </a:p>
            </p:txBody>
          </p:sp>
          <p:sp>
            <p:nvSpPr>
              <p:cNvPr id="22" name="TextBox 11">
                <a:extLst>
                  <a:ext uri="{FF2B5EF4-FFF2-40B4-BE49-F238E27FC236}">
                    <a16:creationId xmlns:a16="http://schemas.microsoft.com/office/drawing/2014/main" id="{C8B2C38A-4858-7ECE-DE71-15FD51786F62}"/>
                  </a:ext>
                </a:extLst>
              </p:cNvPr>
              <p:cNvSpPr txBox="1"/>
              <p:nvPr/>
            </p:nvSpPr>
            <p:spPr>
              <a:xfrm>
                <a:off x="4708248" y="2641524"/>
                <a:ext cx="6855476" cy="229634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AU" sz="3200">
                    <a:effectLst/>
                    <a:latin typeface="+mj-lt"/>
                    <a:ea typeface="Aptos" panose="020B0004020202020204" pitchFamily="34" charset="0"/>
                    <a:cs typeface="Times New Roman"/>
                  </a:rPr>
                  <a:t>35% of </a:t>
                </a:r>
                <a:r>
                  <a:rPr lang="en-AU" sz="3200" b="1">
                    <a:effectLst/>
                    <a:latin typeface="+mj-lt"/>
                    <a:ea typeface="Aptos" panose="020B0004020202020204" pitchFamily="34" charset="0"/>
                    <a:cs typeface="Times New Roman"/>
                  </a:rPr>
                  <a:t>Australian</a:t>
                </a:r>
                <a:r>
                  <a:rPr lang="en-AU" sz="3200">
                    <a:effectLst/>
                    <a:latin typeface="+mj-lt"/>
                    <a:ea typeface="Aptos" panose="020B0004020202020204" pitchFamily="34" charset="0"/>
                    <a:cs typeface="Times New Roman"/>
                  </a:rPr>
                  <a:t> eCommerce businesses say recommerce will play a role in their strategy in the near future</a:t>
                </a:r>
                <a:endParaRPr lang="en-AU" sz="3200" spc="-50">
                  <a:latin typeface="+mj-lt"/>
                  <a:cs typeface="Times New Roman"/>
                </a:endParaRPr>
              </a:p>
            </p:txBody>
          </p:sp>
        </p:grpSp>
      </p:grpSp>
      <p:pic>
        <p:nvPicPr>
          <p:cNvPr id="5" name="Picture 4" descr="A red circle with a grid on it&#10;&#10;AI-generated content may be incorrect.">
            <a:extLst>
              <a:ext uri="{FF2B5EF4-FFF2-40B4-BE49-F238E27FC236}">
                <a16:creationId xmlns:a16="http://schemas.microsoft.com/office/drawing/2014/main" id="{211F5C1D-AB7C-00F8-A30D-2FA3CA62D96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-597428" y="90488"/>
            <a:ext cx="3819525" cy="3819525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8109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88AFC4-E11B-67D5-FA30-5364C9B1C5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1">
            <a:extLst>
              <a:ext uri="{FF2B5EF4-FFF2-40B4-BE49-F238E27FC236}">
                <a16:creationId xmlns:a16="http://schemas.microsoft.com/office/drawing/2014/main" id="{7B119F52-73C9-F7B0-1895-5B77ED6F38A5}"/>
              </a:ext>
            </a:extLst>
          </p:cNvPr>
          <p:cNvSpPr txBox="1">
            <a:spLocks/>
          </p:cNvSpPr>
          <p:nvPr/>
        </p:nvSpPr>
        <p:spPr>
          <a:xfrm>
            <a:off x="336000" y="269081"/>
            <a:ext cx="10900553" cy="7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spc="-100" baseline="0">
                <a:gradFill flip="none" rotWithShape="1">
                  <a:gsLst>
                    <a:gs pos="0">
                      <a:schemeClr val="accent2"/>
                    </a:gs>
                    <a:gs pos="7500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200" b="1" i="0" u="none" strike="noStrike" kern="1200" cap="none" spc="-100" normalizeH="0" baseline="0" noProof="0">
                <a:ln>
                  <a:noFill/>
                </a:ln>
                <a:gradFill flip="none">
                  <a:gsLst>
                    <a:gs pos="0">
                      <a:srgbClr val="DC1928"/>
                    </a:gs>
                    <a:gs pos="75000">
                      <a:srgbClr val="DC1928"/>
                    </a:gs>
                    <a:gs pos="100000">
                      <a:srgbClr val="F51482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AP Type Text"/>
                <a:ea typeface="+mj-ea"/>
                <a:cs typeface="+mj-cs"/>
              </a:rPr>
              <a:t>C2C Marketplaces are leading the resale market @ 90%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D76BD2-5328-2870-B0E8-5EAAEBCF140A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8276872" y="6489259"/>
            <a:ext cx="3607349" cy="280988"/>
          </a:xfrm>
        </p:spPr>
        <p:txBody>
          <a:bodyPr/>
          <a:lstStyle/>
          <a:p>
            <a:r>
              <a:rPr lang="en-US" sz="900" i="1"/>
              <a:t>Top Pre-Owned Goods Platforms by GMV</a:t>
            </a:r>
          </a:p>
          <a:p>
            <a:endParaRPr lang="en-AU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DC22F45-EE74-9EBD-E325-A040AAC133FB}"/>
              </a:ext>
            </a:extLst>
          </p:cNvPr>
          <p:cNvSpPr/>
          <p:nvPr/>
        </p:nvSpPr>
        <p:spPr>
          <a:xfrm>
            <a:off x="11572568" y="192354"/>
            <a:ext cx="619432" cy="9573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en-AU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 Type Text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251AAF3-7922-1618-6AF3-A51D5DDB6CD5}"/>
              </a:ext>
            </a:extLst>
          </p:cNvPr>
          <p:cNvSpPr txBox="1"/>
          <p:nvPr/>
        </p:nvSpPr>
        <p:spPr>
          <a:xfrm>
            <a:off x="8772804" y="1016441"/>
            <a:ext cx="3107857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ctr">
              <a:spcAft>
                <a:spcPts val="600"/>
              </a:spcAft>
              <a:buFont typeface="Wingdings" pitchFamily="2" charset="2"/>
              <a:buChar char="ü"/>
            </a:pPr>
            <a:endParaRPr lang="en-US" sz="1300" b="1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F138633-07A0-05F0-289E-F2F747819BDD}"/>
              </a:ext>
            </a:extLst>
          </p:cNvPr>
          <p:cNvSpPr txBox="1">
            <a:spLocks/>
          </p:cNvSpPr>
          <p:nvPr/>
        </p:nvSpPr>
        <p:spPr>
          <a:xfrm>
            <a:off x="5037943" y="1429537"/>
            <a:ext cx="6895667" cy="4564943"/>
          </a:xfrm>
          <a:prstGeom prst="roundRect">
            <a:avLst>
              <a:gd name="adj" fmla="val 2993"/>
            </a:avLst>
          </a:prstGeom>
          <a:solidFill>
            <a:schemeClr val="bg1"/>
          </a:solidFill>
          <a:ln>
            <a:noFill/>
          </a:ln>
          <a:effectLst>
            <a:innerShdw blurRad="63500">
              <a:schemeClr val="bg2"/>
            </a:inn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 anchorCtr="0"/>
          <a:lstStyle>
            <a:defPPr>
              <a:defRPr lang="en-US"/>
            </a:defPPr>
            <a:lvl1pPr algn="r">
              <a:defRPr sz="1400" b="1">
                <a:solidFill>
                  <a:prstClr val="white"/>
                </a:solidFill>
                <a:latin typeface="AP Type Text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 Type Text"/>
                <a:ea typeface="+mn-ea"/>
                <a:cs typeface="+mn-cs"/>
              </a:rPr>
              <a:t> </a:t>
            </a:r>
          </a:p>
        </p:txBody>
      </p:sp>
      <p:pic>
        <p:nvPicPr>
          <p:cNvPr id="11" name="Picture 10" descr="A red circle with a triangle in the middle&#10;&#10;AI-generated content may be incorrect.">
            <a:extLst>
              <a:ext uri="{FF2B5EF4-FFF2-40B4-BE49-F238E27FC236}">
                <a16:creationId xmlns:a16="http://schemas.microsoft.com/office/drawing/2014/main" id="{DC37F7CC-E05C-FC8B-3B4A-2D3B947EB775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13127" y="2256191"/>
            <a:ext cx="3776134" cy="3629731"/>
          </a:xfrm>
          <a:prstGeom prst="rect">
            <a:avLst/>
          </a:prstGeom>
          <a:solidFill>
            <a:srgbClr val="FFB5D7"/>
          </a:solidFill>
          <a:ln>
            <a:noFill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1143AB1-6605-9BA3-BD1C-5302BDBDEAF0}"/>
              </a:ext>
            </a:extLst>
          </p:cNvPr>
          <p:cNvSpPr txBox="1"/>
          <p:nvPr/>
        </p:nvSpPr>
        <p:spPr>
          <a:xfrm>
            <a:off x="1010677" y="1793312"/>
            <a:ext cx="3618860" cy="5429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Autofit/>
          </a:bodyPr>
          <a:lstStyle/>
          <a:p>
            <a:r>
              <a:rPr lang="en-US" sz="2400" b="1">
                <a:latin typeface="AP Type Text"/>
              </a:rPr>
              <a:t>B2C is 10% of Market</a:t>
            </a:r>
            <a:endParaRPr lang="en-US"/>
          </a:p>
        </p:txBody>
      </p:sp>
      <p:pic>
        <p:nvPicPr>
          <p:cNvPr id="14" name="Picture 13" descr="A graph of sales&#10;&#10;AI-generated content may be incorrect.">
            <a:extLst>
              <a:ext uri="{FF2B5EF4-FFF2-40B4-BE49-F238E27FC236}">
                <a16:creationId xmlns:a16="http://schemas.microsoft.com/office/drawing/2014/main" id="{121A52F4-E8C6-DC40-51D1-94FE52F3A2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4431" y="1566334"/>
            <a:ext cx="6703196" cy="4289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404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DBE28B-48BC-36EA-580F-6923135073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white circle with black border&#10;&#10;AI-generated content may be incorrect.">
            <a:extLst>
              <a:ext uri="{FF2B5EF4-FFF2-40B4-BE49-F238E27FC236}">
                <a16:creationId xmlns:a16="http://schemas.microsoft.com/office/drawing/2014/main" id="{3A7C6793-38A3-6313-E5C0-181ABD3835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tretch/>
        </p:blipFill>
        <p:spPr>
          <a:xfrm>
            <a:off x="4870981" y="0"/>
            <a:ext cx="6771498" cy="6858000"/>
          </a:xfrm>
          <a:prstGeom prst="rect">
            <a:avLst/>
          </a:prstGeom>
        </p:spPr>
      </p:pic>
      <p:sp>
        <p:nvSpPr>
          <p:cNvPr id="5" name="Title 3">
            <a:extLst>
              <a:ext uri="{FF2B5EF4-FFF2-40B4-BE49-F238E27FC236}">
                <a16:creationId xmlns:a16="http://schemas.microsoft.com/office/drawing/2014/main" id="{2DB437C4-4B61-A8E1-9E35-7878EA2BD541}"/>
              </a:ext>
            </a:extLst>
          </p:cNvPr>
          <p:cNvSpPr txBox="1">
            <a:spLocks/>
          </p:cNvSpPr>
          <p:nvPr/>
        </p:nvSpPr>
        <p:spPr>
          <a:xfrm>
            <a:off x="549521" y="1604313"/>
            <a:ext cx="6142681" cy="997196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spc="-100" baseline="0">
                <a:gradFill flip="none" rotWithShape="1">
                  <a:gsLst>
                    <a:gs pos="0">
                      <a:schemeClr val="accent2"/>
                    </a:gs>
                    <a:gs pos="7500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7200"/>
              <a:t>Q</a:t>
            </a:r>
            <a:r>
              <a:rPr lang="en-AU" sz="7200" err="1"/>
              <a:t>uestions</a:t>
            </a:r>
            <a:r>
              <a:rPr lang="en-AU" sz="7200"/>
              <a:t>?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B0CCE11-59A2-7340-BB59-833E83492C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34698" y="4468102"/>
            <a:ext cx="284874" cy="284874"/>
          </a:xfrm>
          <a:prstGeom prst="rect">
            <a:avLst/>
          </a:prstGeom>
        </p:spPr>
      </p:pic>
      <p:pic>
        <p:nvPicPr>
          <p:cNvPr id="24" name="Picture 23" descr="A red and white chat bubbles&#10;&#10;AI-generated content may be incorrect.">
            <a:extLst>
              <a:ext uri="{FF2B5EF4-FFF2-40B4-BE49-F238E27FC236}">
                <a16:creationId xmlns:a16="http://schemas.microsoft.com/office/drawing/2014/main" id="{923F3EEC-0626-3079-9743-A7F1D810216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521" y="3374571"/>
            <a:ext cx="3837998" cy="2093628"/>
          </a:xfrm>
          <a:prstGeom prst="rect">
            <a:avLst/>
          </a:prstGeom>
          <a:effectLst>
            <a:outerShdw blurRad="152400" dist="457200" dir="5400000" sx="90000" sy="-19000" rotWithShape="0">
              <a:prstClr val="black">
                <a:alpha val="9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424742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E63FCA-1F98-38A2-AD60-8496CC7172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AA30412-B623-A0F5-8DCE-3CCEDF8E34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800" y="2666825"/>
            <a:ext cx="6066000" cy="1362076"/>
          </a:xfrm>
        </p:spPr>
        <p:txBody>
          <a:bodyPr/>
          <a:lstStyle/>
          <a:p>
            <a:r>
              <a:rPr lang="en-AU" sz="8800"/>
              <a:t>Thank You 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8A73F54-EFFF-24D4-1BEB-F4AD1A69F55E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167955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39089A-A48F-E088-C6A3-7EB9771177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white circle with black border&#10;&#10;AI-generated content may be incorrect.">
            <a:extLst>
              <a:ext uri="{FF2B5EF4-FFF2-40B4-BE49-F238E27FC236}">
                <a16:creationId xmlns:a16="http://schemas.microsoft.com/office/drawing/2014/main" id="{E0491402-9A94-B5DB-EE98-7D450A0D06D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9524" r="-21583"/>
          <a:stretch/>
        </p:blipFill>
        <p:spPr>
          <a:xfrm>
            <a:off x="7696204" y="3369757"/>
            <a:ext cx="4069551" cy="2623368"/>
          </a:xfrm>
          <a:prstGeom prst="roundRect">
            <a:avLst>
              <a:gd name="adj" fmla="val 5939"/>
            </a:avLst>
          </a:prstGeom>
          <a:solidFill>
            <a:schemeClr val="bg1"/>
          </a:solidFill>
          <a:effectLst>
            <a:innerShdw blurRad="63500">
              <a:schemeClr val="bg2"/>
            </a:innerShdw>
          </a:effectLst>
        </p:spPr>
      </p:pic>
      <p:pic>
        <p:nvPicPr>
          <p:cNvPr id="119" name="Picture 118" descr="A white circle with black border&#10;&#10;AI-generated content may be incorrect.">
            <a:extLst>
              <a:ext uri="{FF2B5EF4-FFF2-40B4-BE49-F238E27FC236}">
                <a16:creationId xmlns:a16="http://schemas.microsoft.com/office/drawing/2014/main" id="{6AC91AAA-6A01-360B-0DE2-3BCECA2237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9524" r="-21583"/>
          <a:stretch/>
        </p:blipFill>
        <p:spPr>
          <a:xfrm>
            <a:off x="7746701" y="929744"/>
            <a:ext cx="4069551" cy="2303392"/>
          </a:xfrm>
          <a:prstGeom prst="roundRect">
            <a:avLst>
              <a:gd name="adj" fmla="val 5939"/>
            </a:avLst>
          </a:prstGeom>
          <a:solidFill>
            <a:schemeClr val="bg1"/>
          </a:solidFill>
          <a:effectLst>
            <a:innerShdw blurRad="63500">
              <a:schemeClr val="bg2"/>
            </a:innerShdw>
          </a:effectLst>
        </p:spPr>
      </p:pic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B69F68A5-1D77-B214-2326-FA50D6957D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9F68A5-1D77-B214-2326-FA50D6957D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66389B20-087A-D469-9957-1536D9D957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550" y="268288"/>
            <a:ext cx="8999538" cy="792162"/>
          </a:xfrm>
        </p:spPr>
        <p:txBody>
          <a:bodyPr/>
          <a:lstStyle/>
          <a:p>
            <a:r>
              <a:rPr lang="en-AU" sz="3200"/>
              <a:t>How eCommerce performed in 2024 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AB4523EC-3C68-ED45-D64A-044CD08F44C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8248650" y="6326981"/>
            <a:ext cx="3607349" cy="280988"/>
          </a:xfrm>
        </p:spPr>
        <p:txBody>
          <a:bodyPr/>
          <a:lstStyle/>
          <a:p>
            <a:r>
              <a:rPr lang="en-AU"/>
              <a:t>1. CommBank IQ; 2. Australia Post Omnibus Consumer survey Jul’24 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84704152-3842-B000-8DC6-84009FD024E1}"/>
              </a:ext>
            </a:extLst>
          </p:cNvPr>
          <p:cNvSpPr txBox="1">
            <a:spLocks/>
          </p:cNvSpPr>
          <p:nvPr/>
        </p:nvSpPr>
        <p:spPr>
          <a:xfrm>
            <a:off x="330198" y="959966"/>
            <a:ext cx="7320520" cy="5040783"/>
          </a:xfrm>
          <a:prstGeom prst="roundRect">
            <a:avLst>
              <a:gd name="adj" fmla="val 3262"/>
            </a:avLst>
          </a:prstGeom>
          <a:solidFill>
            <a:schemeClr val="accent5"/>
          </a:solidFill>
        </p:spPr>
        <p:txBody>
          <a:bodyPr lIns="72000" tIns="36000" rIns="72000" bIns="36000" anchor="t" anchorCtr="0"/>
          <a:lstStyle>
            <a:defPPr>
              <a:defRPr lang="en-US"/>
            </a:defPPr>
            <a:lvl1pPr algn="r">
              <a:buClr>
                <a:schemeClr val="accent2"/>
              </a:buClr>
              <a:defRPr sz="2400" b="1" spc="-100">
                <a:solidFill>
                  <a:schemeClr val="bg1"/>
                </a:solidFill>
              </a:defRPr>
            </a:lvl1pPr>
            <a:lvl2pPr indent="0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P Type Text" panose="020B0503030202060203" pitchFamily="34" charset="0"/>
              <a:buNone/>
              <a:defRPr sz="2000" b="1" spc="-50" baseline="0"/>
            </a:lvl2pPr>
            <a:lvl3pPr indent="0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P Type Text" panose="020B0503030202060203" pitchFamily="34" charset="0"/>
              <a:buNone/>
              <a:defRPr b="1" spc="-50" baseline="0"/>
            </a:lvl3pPr>
            <a:lvl4pPr indent="0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P Type Text" panose="020B0503030202060203" pitchFamily="34" charset="0"/>
              <a:buNone/>
              <a:defRPr sz="1600" b="1" spc="-50" baseline="0"/>
            </a:lvl4pPr>
            <a:lvl5pPr indent="0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P Type Text" panose="020B0503030202060203" pitchFamily="34" charset="0"/>
              <a:buNone/>
              <a:defRPr sz="1600" b="1" spc="-50" baseline="0"/>
            </a:lvl5pPr>
            <a:lvl6pPr indent="0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P Type Text" panose="020B0503030202060203" pitchFamily="34" charset="0"/>
              <a:buNone/>
              <a:defRPr sz="1600" b="1"/>
            </a:lvl6pPr>
            <a:lvl7pPr indent="0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P Type Text" panose="020B0503030202060203" pitchFamily="34" charset="0"/>
              <a:buNone/>
              <a:defRPr sz="1600" b="1"/>
            </a:lvl7pPr>
            <a:lvl8pPr indent="0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P Type Text" panose="020B0503030202060203" pitchFamily="34" charset="0"/>
              <a:buNone/>
              <a:defRPr sz="1600" b="1"/>
            </a:lvl8pPr>
            <a:lvl9pPr indent="0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P Type Text" panose="020B0503030202060203" pitchFamily="34" charset="0"/>
              <a:buNone/>
              <a:defRPr sz="1600" b="1"/>
            </a:lvl9pPr>
          </a:lstStyle>
          <a:p>
            <a:endParaRPr lang="en-AU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DD4C00F-C62D-7C07-04B4-04700F45BE7D}"/>
              </a:ext>
            </a:extLst>
          </p:cNvPr>
          <p:cNvGrpSpPr/>
          <p:nvPr/>
        </p:nvGrpSpPr>
        <p:grpSpPr>
          <a:xfrm>
            <a:off x="3074600" y="1426988"/>
            <a:ext cx="4265316" cy="4004023"/>
            <a:chOff x="643655" y="2878038"/>
            <a:chExt cx="3324398" cy="3120746"/>
          </a:xfrm>
        </p:grpSpPr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049636B2-001B-8428-7426-1A806F68D18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43655" y="2878038"/>
              <a:ext cx="3324398" cy="3120746"/>
            </a:xfrm>
            <a:prstGeom prst="rect">
              <a:avLst/>
            </a:prstGeom>
          </p:spPr>
        </p:pic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17EBDE32-EAD1-6668-253A-EBFB312A163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455934" y="3480207"/>
              <a:ext cx="263763" cy="353444"/>
            </a:xfrm>
            <a:prstGeom prst="rect">
              <a:avLst/>
            </a:prstGeom>
          </p:spPr>
        </p:pic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C0093EC3-97DD-71D2-F963-5DB57E401E2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634829" y="4076526"/>
              <a:ext cx="263763" cy="353444"/>
            </a:xfrm>
            <a:prstGeom prst="rect">
              <a:avLst/>
            </a:prstGeom>
          </p:spPr>
        </p:pic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A059C75C-7512-D9FA-F9F9-8934684D081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131741" y="5011164"/>
              <a:ext cx="263763" cy="353444"/>
            </a:xfrm>
            <a:prstGeom prst="rect">
              <a:avLst/>
            </a:prstGeom>
          </p:spPr>
        </p:pic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E7A6BCD2-42E3-544B-D0F3-4E7D42C49566}"/>
                </a:ext>
              </a:extLst>
            </p:cNvPr>
            <p:cNvSpPr txBox="1"/>
            <p:nvPr/>
          </p:nvSpPr>
          <p:spPr>
            <a:xfrm>
              <a:off x="1087953" y="3837458"/>
              <a:ext cx="2492304" cy="59970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algn="ctr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Pts val="1000"/>
                <a:tabLst>
                  <a:tab pos="457200" algn="l"/>
                </a:tabLst>
                <a:defRPr/>
              </a:pPr>
              <a:r>
                <a:rPr lang="en-AU" sz="1400" spc="-50">
                  <a:solidFill>
                    <a:schemeClr val="bg1"/>
                  </a:solidFill>
                  <a:latin typeface="+mj-lt"/>
                  <a:ea typeface="+mj-ea"/>
                  <a:cs typeface="+mj-cs"/>
                </a:rPr>
                <a:t>Top locations by volume: </a:t>
              </a:r>
              <a:br>
                <a:rPr lang="en-AU" sz="1200" spc="-50">
                  <a:solidFill>
                    <a:schemeClr val="bg1"/>
                  </a:solidFill>
                  <a:latin typeface="+mj-lt"/>
                  <a:ea typeface="+mj-ea"/>
                  <a:cs typeface="+mj-cs"/>
                </a:rPr>
              </a:br>
              <a:r>
                <a:rPr lang="en-AU" b="1" spc="-50">
                  <a:solidFill>
                    <a:schemeClr val="bg1"/>
                  </a:solidFill>
                  <a:latin typeface="+mj-lt"/>
                  <a:ea typeface="+mj-ea"/>
                  <a:cs typeface="+mj-cs"/>
                </a:rPr>
                <a:t>Toowoomba, Mackay, </a:t>
              </a:r>
              <a:br>
                <a:rPr lang="en-AU" b="1" spc="-50">
                  <a:solidFill>
                    <a:schemeClr val="bg1"/>
                  </a:solidFill>
                  <a:latin typeface="+mj-lt"/>
                  <a:ea typeface="+mj-ea"/>
                  <a:cs typeface="+mj-cs"/>
                </a:rPr>
              </a:br>
              <a:r>
                <a:rPr lang="en-AU" b="1" spc="-50">
                  <a:solidFill>
                    <a:schemeClr val="bg1"/>
                  </a:solidFill>
                  <a:latin typeface="+mj-lt"/>
                  <a:ea typeface="+mj-ea"/>
                  <a:cs typeface="+mj-cs"/>
                </a:rPr>
                <a:t>Point Cook</a:t>
              </a:r>
            </a:p>
          </p:txBody>
        </p:sp>
      </p:grpSp>
      <p:sp>
        <p:nvSpPr>
          <p:cNvPr id="52" name="Title 11">
            <a:extLst>
              <a:ext uri="{FF2B5EF4-FFF2-40B4-BE49-F238E27FC236}">
                <a16:creationId xmlns:a16="http://schemas.microsoft.com/office/drawing/2014/main" id="{2995C4B8-618C-9F0F-5031-CED960EA94C2}"/>
              </a:ext>
            </a:extLst>
          </p:cNvPr>
          <p:cNvSpPr txBox="1">
            <a:spLocks/>
          </p:cNvSpPr>
          <p:nvPr/>
        </p:nvSpPr>
        <p:spPr>
          <a:xfrm>
            <a:off x="780636" y="1673614"/>
            <a:ext cx="2385757" cy="6463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spc="-100" baseline="0">
                <a:gradFill flip="none" rotWithShape="1">
                  <a:gsLst>
                    <a:gs pos="0">
                      <a:schemeClr val="accent2"/>
                    </a:gs>
                    <a:gs pos="7500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AU" sz="1400" b="0" spc="0">
                <a:solidFill>
                  <a:schemeClr val="bg1"/>
                </a:solidFill>
              </a:rPr>
              <a:t>A record 9.8M households shopped online, that’s 82% of all households.</a:t>
            </a:r>
            <a:endParaRPr lang="en-US" sz="2000" b="0" spc="0">
              <a:solidFill>
                <a:schemeClr val="bg1"/>
              </a:solidFill>
            </a:endParaRPr>
          </a:p>
        </p:txBody>
      </p:sp>
      <p:sp>
        <p:nvSpPr>
          <p:cNvPr id="53" name="Title 11">
            <a:extLst>
              <a:ext uri="{FF2B5EF4-FFF2-40B4-BE49-F238E27FC236}">
                <a16:creationId xmlns:a16="http://schemas.microsoft.com/office/drawing/2014/main" id="{DA9741E0-DD3E-D4DE-D667-76AC14888025}"/>
              </a:ext>
            </a:extLst>
          </p:cNvPr>
          <p:cNvSpPr txBox="1">
            <a:spLocks/>
          </p:cNvSpPr>
          <p:nvPr/>
        </p:nvSpPr>
        <p:spPr>
          <a:xfrm>
            <a:off x="780637" y="1270137"/>
            <a:ext cx="21600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spc="-100" baseline="0">
                <a:gradFill flip="none" rotWithShape="1">
                  <a:gsLst>
                    <a:gs pos="0">
                      <a:schemeClr val="accent2"/>
                    </a:gs>
                    <a:gs pos="7500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>
                <a:solidFill>
                  <a:schemeClr val="bg1"/>
                </a:solidFill>
              </a:rPr>
              <a:t>9.8 million</a:t>
            </a:r>
            <a:endParaRPr lang="en-US" sz="2800" b="0" spc="0">
              <a:solidFill>
                <a:schemeClr val="bg1"/>
              </a:solidFill>
            </a:endParaRP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9F876FF6-6F73-F479-CEF0-59E05F846078}"/>
              </a:ext>
            </a:extLst>
          </p:cNvPr>
          <p:cNvCxnSpPr>
            <a:cxnSpLocks/>
          </p:cNvCxnSpPr>
          <p:nvPr/>
        </p:nvCxnSpPr>
        <p:spPr>
          <a:xfrm>
            <a:off x="637311" y="3228436"/>
            <a:ext cx="0" cy="1781871"/>
          </a:xfrm>
          <a:prstGeom prst="line">
            <a:avLst/>
          </a:prstGeom>
          <a:ln w="25400" cap="rnd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FF5A0D2-3FE8-1746-B54A-8DED33C61B19}"/>
              </a:ext>
            </a:extLst>
          </p:cNvPr>
          <p:cNvCxnSpPr>
            <a:cxnSpLocks/>
          </p:cNvCxnSpPr>
          <p:nvPr/>
        </p:nvCxnSpPr>
        <p:spPr>
          <a:xfrm>
            <a:off x="637311" y="1275626"/>
            <a:ext cx="0" cy="1581454"/>
          </a:xfrm>
          <a:prstGeom prst="line">
            <a:avLst/>
          </a:prstGeom>
          <a:ln w="25400" cap="rnd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itle 11">
            <a:extLst>
              <a:ext uri="{FF2B5EF4-FFF2-40B4-BE49-F238E27FC236}">
                <a16:creationId xmlns:a16="http://schemas.microsoft.com/office/drawing/2014/main" id="{836313DF-DC78-5234-0B49-6CD5572CDA13}"/>
              </a:ext>
            </a:extLst>
          </p:cNvPr>
          <p:cNvSpPr txBox="1">
            <a:spLocks/>
          </p:cNvSpPr>
          <p:nvPr/>
        </p:nvSpPr>
        <p:spPr>
          <a:xfrm>
            <a:off x="780636" y="4052092"/>
            <a:ext cx="2160000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spc="-100" baseline="0">
                <a:gradFill flip="none" rotWithShape="1">
                  <a:gsLst>
                    <a:gs pos="0">
                      <a:schemeClr val="accent2"/>
                    </a:gs>
                    <a:gs pos="7500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400" b="0" spc="0">
                <a:solidFill>
                  <a:schemeClr val="bg1"/>
                </a:solidFill>
              </a:rPr>
              <a:t>Aussies' record-breaking online spend</a:t>
            </a:r>
            <a:r>
              <a:rPr lang="en-AU" sz="1400" b="0" baseline="30000">
                <a:solidFill>
                  <a:schemeClr val="bg1"/>
                </a:solidFill>
              </a:rPr>
              <a:t>1</a:t>
            </a:r>
            <a:endParaRPr lang="en-US" sz="2000" b="0" spc="0">
              <a:solidFill>
                <a:schemeClr val="bg1"/>
              </a:solidFill>
            </a:endParaRPr>
          </a:p>
        </p:txBody>
      </p:sp>
      <p:sp>
        <p:nvSpPr>
          <p:cNvPr id="57" name="Title 11">
            <a:extLst>
              <a:ext uri="{FF2B5EF4-FFF2-40B4-BE49-F238E27FC236}">
                <a16:creationId xmlns:a16="http://schemas.microsoft.com/office/drawing/2014/main" id="{485D01F2-A2A4-0760-5D5E-FC7A7A27FB2A}"/>
              </a:ext>
            </a:extLst>
          </p:cNvPr>
          <p:cNvSpPr txBox="1">
            <a:spLocks/>
          </p:cNvSpPr>
          <p:nvPr/>
        </p:nvSpPr>
        <p:spPr>
          <a:xfrm>
            <a:off x="780636" y="3648615"/>
            <a:ext cx="21600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spc="-100" baseline="0">
                <a:gradFill flip="none" rotWithShape="1">
                  <a:gsLst>
                    <a:gs pos="0">
                      <a:schemeClr val="accent2"/>
                    </a:gs>
                    <a:gs pos="7500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>
                <a:solidFill>
                  <a:schemeClr val="bg1"/>
                </a:solidFill>
              </a:rPr>
              <a:t>$69 billion</a:t>
            </a:r>
            <a:endParaRPr lang="en-US" sz="2800" b="0" spc="0">
              <a:solidFill>
                <a:schemeClr val="bg1"/>
              </a:solidFill>
            </a:endParaRPr>
          </a:p>
        </p:txBody>
      </p:sp>
      <p:sp>
        <p:nvSpPr>
          <p:cNvPr id="67" name="Title 11">
            <a:extLst>
              <a:ext uri="{FF2B5EF4-FFF2-40B4-BE49-F238E27FC236}">
                <a16:creationId xmlns:a16="http://schemas.microsoft.com/office/drawing/2014/main" id="{91E871A1-6614-3364-233B-BF3577228ED4}"/>
              </a:ext>
            </a:extLst>
          </p:cNvPr>
          <p:cNvSpPr txBox="1">
            <a:spLocks/>
          </p:cNvSpPr>
          <p:nvPr/>
        </p:nvSpPr>
        <p:spPr>
          <a:xfrm>
            <a:off x="9682509" y="3959414"/>
            <a:ext cx="1997288" cy="76174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spc="-100" baseline="0">
                <a:gradFill flip="none" rotWithShape="1">
                  <a:gsLst>
                    <a:gs pos="0">
                      <a:schemeClr val="accent2"/>
                    </a:gs>
                    <a:gs pos="7500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300"/>
              </a:spcAft>
            </a:pPr>
            <a:r>
              <a:rPr lang="en-AU" sz="1200" spc="-50">
                <a:solidFill>
                  <a:schemeClr val="tx1"/>
                </a:solidFill>
              </a:rPr>
              <a:t>Average number of online retailers shopped from in 2024</a:t>
            </a:r>
          </a:p>
          <a:p>
            <a:pPr>
              <a:lnSpc>
                <a:spcPct val="100000"/>
              </a:lnSpc>
              <a:spcAft>
                <a:spcPts val="300"/>
              </a:spcAft>
            </a:pPr>
            <a:r>
              <a:rPr lang="en-AU" sz="1100" b="0" spc="-50">
                <a:solidFill>
                  <a:schemeClr val="tx1"/>
                </a:solidFill>
              </a:rPr>
              <a:t>up from 9 in 2018</a:t>
            </a:r>
          </a:p>
        </p:txBody>
      </p:sp>
      <p:sp>
        <p:nvSpPr>
          <p:cNvPr id="69" name="Title 11">
            <a:extLst>
              <a:ext uri="{FF2B5EF4-FFF2-40B4-BE49-F238E27FC236}">
                <a16:creationId xmlns:a16="http://schemas.microsoft.com/office/drawing/2014/main" id="{ED71690A-F448-D95F-0545-1584B8A86A05}"/>
              </a:ext>
            </a:extLst>
          </p:cNvPr>
          <p:cNvSpPr txBox="1">
            <a:spLocks/>
          </p:cNvSpPr>
          <p:nvPr/>
        </p:nvSpPr>
        <p:spPr>
          <a:xfrm>
            <a:off x="10032589" y="3611336"/>
            <a:ext cx="1809919" cy="2769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spc="-100" baseline="0">
                <a:gradFill flip="none" rotWithShape="1">
                  <a:gsLst>
                    <a:gs pos="0">
                      <a:schemeClr val="accent2"/>
                    </a:gs>
                    <a:gs pos="7500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>
                <a:solidFill>
                  <a:schemeClr val="tx1"/>
                </a:solidFill>
              </a:rPr>
              <a:t>16 </a:t>
            </a:r>
            <a:r>
              <a:rPr lang="en-US" sz="1600">
                <a:solidFill>
                  <a:schemeClr val="tx1"/>
                </a:solidFill>
              </a:rPr>
              <a:t>retailers</a:t>
            </a:r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6C6BFE8D-8992-E57D-554F-BCCCF82B178C}"/>
              </a:ext>
            </a:extLst>
          </p:cNvPr>
          <p:cNvGrpSpPr/>
          <p:nvPr/>
        </p:nvGrpSpPr>
        <p:grpSpPr>
          <a:xfrm>
            <a:off x="9684877" y="3614104"/>
            <a:ext cx="271462" cy="271462"/>
            <a:chOff x="4305215" y="4284068"/>
            <a:chExt cx="271462" cy="271462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8F84A2B4-84CE-3226-6498-E313F8FDAEE9}"/>
                </a:ext>
              </a:extLst>
            </p:cNvPr>
            <p:cNvSpPr/>
            <p:nvPr/>
          </p:nvSpPr>
          <p:spPr>
            <a:xfrm rot="10800000">
              <a:off x="4305215" y="4284068"/>
              <a:ext cx="271462" cy="271462"/>
            </a:xfrm>
            <a:prstGeom prst="ellipse">
              <a:avLst/>
            </a:prstGeom>
            <a:gradFill flip="none" rotWithShape="1">
              <a:gsLst>
                <a:gs pos="100000">
                  <a:schemeClr val="accent2"/>
                </a:gs>
                <a:gs pos="0">
                  <a:schemeClr val="accent3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r"/>
              <a:endParaRPr lang="en-AU" sz="1400" b="1" spc="-50" err="1">
                <a:gradFill>
                  <a:gsLst>
                    <a:gs pos="0">
                      <a:srgbClr val="FA8DC3"/>
                    </a:gs>
                    <a:gs pos="100000">
                      <a:srgbClr val="DD1A2B"/>
                    </a:gs>
                  </a:gsLst>
                  <a:lin ang="0" scaled="1"/>
                </a:gradFill>
                <a:latin typeface="AP Type Text"/>
              </a:endParaRPr>
            </a:p>
          </p:txBody>
        </p:sp>
        <p:cxnSp>
          <p:nvCxnSpPr>
            <p:cNvPr id="77" name="Straight Arrow Connector 76">
              <a:extLst>
                <a:ext uri="{FF2B5EF4-FFF2-40B4-BE49-F238E27FC236}">
                  <a16:creationId xmlns:a16="http://schemas.microsoft.com/office/drawing/2014/main" id="{E6D8CC57-E4DB-B775-3CE4-F7FDB724346B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4440946" y="4336723"/>
              <a:ext cx="0" cy="151867"/>
            </a:xfrm>
            <a:prstGeom prst="straightConnector1">
              <a:avLst/>
            </a:prstGeom>
            <a:ln w="19050" cap="rnd">
              <a:solidFill>
                <a:schemeClr val="bg1"/>
              </a:solidFill>
              <a:round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7" name="Title 11">
            <a:extLst>
              <a:ext uri="{FF2B5EF4-FFF2-40B4-BE49-F238E27FC236}">
                <a16:creationId xmlns:a16="http://schemas.microsoft.com/office/drawing/2014/main" id="{0F04C6C7-D1FD-2671-8CB9-37FAABE6F309}"/>
              </a:ext>
            </a:extLst>
          </p:cNvPr>
          <p:cNvSpPr txBox="1">
            <a:spLocks/>
          </p:cNvSpPr>
          <p:nvPr/>
        </p:nvSpPr>
        <p:spPr>
          <a:xfrm>
            <a:off x="7921061" y="3955528"/>
            <a:ext cx="1809919" cy="56169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spc="-100" baseline="0">
                <a:gradFill flip="none" rotWithShape="1">
                  <a:gsLst>
                    <a:gs pos="0">
                      <a:schemeClr val="accent2"/>
                    </a:gs>
                    <a:gs pos="7500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300"/>
              </a:spcAft>
            </a:pPr>
            <a:r>
              <a:rPr lang="en-AU" sz="1200" spc="-50">
                <a:solidFill>
                  <a:schemeClr val="tx1"/>
                </a:solidFill>
              </a:rPr>
              <a:t>Average basket size</a:t>
            </a:r>
          </a:p>
          <a:p>
            <a:pPr>
              <a:lnSpc>
                <a:spcPct val="100000"/>
              </a:lnSpc>
              <a:spcAft>
                <a:spcPts val="300"/>
              </a:spcAft>
            </a:pPr>
            <a:r>
              <a:rPr lang="en-AU" sz="1100" b="0" spc="-50">
                <a:solidFill>
                  <a:schemeClr val="tx1"/>
                </a:solidFill>
              </a:rPr>
              <a:t>down 2.1% from 2023 and </a:t>
            </a:r>
            <a:br>
              <a:rPr lang="en-AU" sz="1100" b="0" spc="-50">
                <a:solidFill>
                  <a:schemeClr val="tx1"/>
                </a:solidFill>
              </a:rPr>
            </a:br>
            <a:r>
              <a:rPr lang="en-AU" sz="1100" b="0" spc="-50">
                <a:solidFill>
                  <a:schemeClr val="tx1"/>
                </a:solidFill>
              </a:rPr>
              <a:t>the lowest in 10 years</a:t>
            </a:r>
            <a:r>
              <a:rPr lang="en-AU" sz="1100" b="0" baseline="30000">
                <a:solidFill>
                  <a:schemeClr val="bg1"/>
                </a:solidFill>
              </a:rPr>
              <a:t> </a:t>
            </a:r>
            <a:r>
              <a:rPr lang="en-AU" sz="1100" b="0" baseline="30000">
                <a:solidFill>
                  <a:schemeClr val="tx1"/>
                </a:solidFill>
              </a:rPr>
              <a:t>1 </a:t>
            </a:r>
            <a:r>
              <a:rPr lang="en-AU" sz="1100" b="0" spc="-50">
                <a:solidFill>
                  <a:schemeClr val="tx1"/>
                </a:solidFill>
              </a:rPr>
              <a:t> </a:t>
            </a:r>
          </a:p>
        </p:txBody>
      </p:sp>
      <p:sp>
        <p:nvSpPr>
          <p:cNvPr id="98" name="Title 11">
            <a:extLst>
              <a:ext uri="{FF2B5EF4-FFF2-40B4-BE49-F238E27FC236}">
                <a16:creationId xmlns:a16="http://schemas.microsoft.com/office/drawing/2014/main" id="{C0862D6A-756F-6BCD-67DB-EB5BB6FE5AC2}"/>
              </a:ext>
            </a:extLst>
          </p:cNvPr>
          <p:cNvSpPr txBox="1">
            <a:spLocks/>
          </p:cNvSpPr>
          <p:nvPr/>
        </p:nvSpPr>
        <p:spPr>
          <a:xfrm>
            <a:off x="8271142" y="3607450"/>
            <a:ext cx="1325600" cy="2769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spc="-100" baseline="0">
                <a:gradFill flip="none" rotWithShape="1">
                  <a:gsLst>
                    <a:gs pos="0">
                      <a:schemeClr val="accent2"/>
                    </a:gs>
                    <a:gs pos="7500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>
                <a:solidFill>
                  <a:schemeClr val="tx1"/>
                </a:solidFill>
              </a:rPr>
              <a:t>$95</a:t>
            </a: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3DF82197-2F78-8907-FC51-6B4FABB7CB27}"/>
              </a:ext>
            </a:extLst>
          </p:cNvPr>
          <p:cNvGrpSpPr/>
          <p:nvPr/>
        </p:nvGrpSpPr>
        <p:grpSpPr>
          <a:xfrm flipV="1">
            <a:off x="7923429" y="3610218"/>
            <a:ext cx="271462" cy="271462"/>
            <a:chOff x="4305215" y="4284068"/>
            <a:chExt cx="271462" cy="271462"/>
          </a:xfrm>
        </p:grpSpPr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EA3621B8-BBAD-241E-74E8-604DC75206C3}"/>
                </a:ext>
              </a:extLst>
            </p:cNvPr>
            <p:cNvSpPr/>
            <p:nvPr/>
          </p:nvSpPr>
          <p:spPr>
            <a:xfrm rot="10800000">
              <a:off x="4305215" y="4284068"/>
              <a:ext cx="271462" cy="271462"/>
            </a:xfrm>
            <a:prstGeom prst="ellipse">
              <a:avLst/>
            </a:prstGeom>
            <a:gradFill flip="none" rotWithShape="1">
              <a:gsLst>
                <a:gs pos="100000">
                  <a:schemeClr val="accent2"/>
                </a:gs>
                <a:gs pos="0">
                  <a:schemeClr val="accent3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r"/>
              <a:endParaRPr lang="en-AU" sz="1400" b="1" spc="-50" err="1">
                <a:solidFill>
                  <a:schemeClr val="tx1"/>
                </a:solidFill>
                <a:latin typeface="AP Type Text"/>
              </a:endParaRPr>
            </a:p>
          </p:txBody>
        </p:sp>
        <p:cxnSp>
          <p:nvCxnSpPr>
            <p:cNvPr id="101" name="Straight Arrow Connector 100">
              <a:extLst>
                <a:ext uri="{FF2B5EF4-FFF2-40B4-BE49-F238E27FC236}">
                  <a16:creationId xmlns:a16="http://schemas.microsoft.com/office/drawing/2014/main" id="{4A391D97-5EEE-1C44-B3E8-B17BD1838F6E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4440946" y="4336723"/>
              <a:ext cx="0" cy="151867"/>
            </a:xfrm>
            <a:prstGeom prst="straightConnector1">
              <a:avLst/>
            </a:prstGeom>
            <a:ln w="19050" cap="rnd">
              <a:solidFill>
                <a:schemeClr val="bg1"/>
              </a:solidFill>
              <a:round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2" name="Title 11">
            <a:extLst>
              <a:ext uri="{FF2B5EF4-FFF2-40B4-BE49-F238E27FC236}">
                <a16:creationId xmlns:a16="http://schemas.microsoft.com/office/drawing/2014/main" id="{A8376BC6-23B0-D92E-9FA8-3470189CACB8}"/>
              </a:ext>
            </a:extLst>
          </p:cNvPr>
          <p:cNvSpPr txBox="1">
            <a:spLocks/>
          </p:cNvSpPr>
          <p:nvPr/>
        </p:nvSpPr>
        <p:spPr>
          <a:xfrm>
            <a:off x="7936291" y="5384527"/>
            <a:ext cx="3944917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None/>
              <a:defRPr sz="1200" b="1" spc="-5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AU"/>
              <a:t>Online Marketplaces led eCommerce growth</a:t>
            </a:r>
          </a:p>
          <a:p>
            <a:r>
              <a:rPr lang="en-AU" sz="1100" b="0"/>
              <a:t>up 23% YoY</a:t>
            </a:r>
            <a:r>
              <a:rPr lang="en-AU" sz="1100" b="0" baseline="30000">
                <a:solidFill>
                  <a:schemeClr val="tx1"/>
                </a:solidFill>
              </a:rPr>
              <a:t>1 </a:t>
            </a:r>
            <a:endParaRPr lang="en-AU" sz="1100" b="0"/>
          </a:p>
          <a:p>
            <a:endParaRPr lang="en-AU"/>
          </a:p>
        </p:txBody>
      </p:sp>
      <p:sp>
        <p:nvSpPr>
          <p:cNvPr id="103" name="Title 11">
            <a:extLst>
              <a:ext uri="{FF2B5EF4-FFF2-40B4-BE49-F238E27FC236}">
                <a16:creationId xmlns:a16="http://schemas.microsoft.com/office/drawing/2014/main" id="{13475016-F5C5-F967-E0BF-9F8D609B2CFA}"/>
              </a:ext>
            </a:extLst>
          </p:cNvPr>
          <p:cNvSpPr txBox="1">
            <a:spLocks/>
          </p:cNvSpPr>
          <p:nvPr/>
        </p:nvSpPr>
        <p:spPr>
          <a:xfrm>
            <a:off x="8278422" y="5036449"/>
            <a:ext cx="1325600" cy="2769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spc="-100" baseline="0">
                <a:gradFill flip="none" rotWithShape="1">
                  <a:gsLst>
                    <a:gs pos="0">
                      <a:schemeClr val="accent2"/>
                    </a:gs>
                    <a:gs pos="7500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>
                <a:solidFill>
                  <a:schemeClr val="tx1"/>
                </a:solidFill>
              </a:rPr>
              <a:t>$16 billion</a:t>
            </a: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DF36398A-AA37-9CC0-DECA-B8A3148B9C48}"/>
              </a:ext>
            </a:extLst>
          </p:cNvPr>
          <p:cNvGrpSpPr/>
          <p:nvPr/>
        </p:nvGrpSpPr>
        <p:grpSpPr>
          <a:xfrm>
            <a:off x="7930709" y="5039217"/>
            <a:ext cx="271462" cy="271462"/>
            <a:chOff x="4305215" y="4284068"/>
            <a:chExt cx="271462" cy="271462"/>
          </a:xfrm>
        </p:grpSpPr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4CF9E298-E42F-2ABE-A23E-C81AA9BBBFF0}"/>
                </a:ext>
              </a:extLst>
            </p:cNvPr>
            <p:cNvSpPr/>
            <p:nvPr/>
          </p:nvSpPr>
          <p:spPr>
            <a:xfrm rot="10800000">
              <a:off x="4305215" y="4284068"/>
              <a:ext cx="271462" cy="271462"/>
            </a:xfrm>
            <a:prstGeom prst="ellipse">
              <a:avLst/>
            </a:prstGeom>
            <a:gradFill flip="none" rotWithShape="1">
              <a:gsLst>
                <a:gs pos="100000">
                  <a:schemeClr val="accent2"/>
                </a:gs>
                <a:gs pos="0">
                  <a:schemeClr val="accent3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r"/>
              <a:endParaRPr lang="en-AU" sz="1400" b="1" spc="-50" err="1">
                <a:solidFill>
                  <a:schemeClr val="tx1"/>
                </a:solidFill>
                <a:latin typeface="AP Type Text"/>
              </a:endParaRPr>
            </a:p>
          </p:txBody>
        </p:sp>
        <p:cxnSp>
          <p:nvCxnSpPr>
            <p:cNvPr id="106" name="Straight Arrow Connector 105">
              <a:extLst>
                <a:ext uri="{FF2B5EF4-FFF2-40B4-BE49-F238E27FC236}">
                  <a16:creationId xmlns:a16="http://schemas.microsoft.com/office/drawing/2014/main" id="{F4FA6D0D-6F70-FC4C-B13E-E9EB0CCDCAC3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4440946" y="4336723"/>
              <a:ext cx="0" cy="151867"/>
            </a:xfrm>
            <a:prstGeom prst="straightConnector1">
              <a:avLst/>
            </a:prstGeom>
            <a:ln w="19050" cap="rnd">
              <a:solidFill>
                <a:schemeClr val="bg1"/>
              </a:solidFill>
              <a:round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9" name="Title 11">
            <a:extLst>
              <a:ext uri="{FF2B5EF4-FFF2-40B4-BE49-F238E27FC236}">
                <a16:creationId xmlns:a16="http://schemas.microsoft.com/office/drawing/2014/main" id="{86650D76-A261-EB3B-E615-218B074FE874}"/>
              </a:ext>
            </a:extLst>
          </p:cNvPr>
          <p:cNvSpPr txBox="1">
            <a:spLocks/>
          </p:cNvSpPr>
          <p:nvPr/>
        </p:nvSpPr>
        <p:spPr>
          <a:xfrm>
            <a:off x="7910473" y="2297881"/>
            <a:ext cx="1933251" cy="8309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spc="-100" baseline="0">
                <a:gradFill flip="none" rotWithShape="1">
                  <a:gsLst>
                    <a:gs pos="0">
                      <a:schemeClr val="accent2"/>
                    </a:gs>
                    <a:gs pos="7500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1200" spc="-50">
                <a:solidFill>
                  <a:schemeClr val="tx1"/>
                </a:solidFill>
              </a:rPr>
              <a:t>56% of Gen Zs and </a:t>
            </a:r>
            <a:br>
              <a:rPr lang="en-US" sz="1200" spc="-50">
                <a:solidFill>
                  <a:schemeClr val="tx1"/>
                </a:solidFill>
              </a:rPr>
            </a:br>
            <a:r>
              <a:rPr lang="en-US" sz="1200" spc="-50">
                <a:solidFill>
                  <a:schemeClr val="tx1"/>
                </a:solidFill>
              </a:rPr>
              <a:t>45% of Millennials </a:t>
            </a:r>
            <a:br>
              <a:rPr lang="en-US" sz="1200" spc="-50">
                <a:solidFill>
                  <a:schemeClr val="tx1"/>
                </a:solidFill>
              </a:rPr>
            </a:br>
            <a:r>
              <a:rPr lang="en-US" sz="1200" b="0" spc="-50">
                <a:solidFill>
                  <a:schemeClr val="tx1"/>
                </a:solidFill>
              </a:rPr>
              <a:t>would switch retailers to access out-of-home collection points</a:t>
            </a:r>
            <a:r>
              <a:rPr lang="en-AU" sz="1200" b="0" baseline="30000">
                <a:solidFill>
                  <a:schemeClr val="tx1"/>
                </a:solidFill>
              </a:rPr>
              <a:t> 2</a:t>
            </a:r>
            <a:endParaRPr lang="en-AU" sz="1200" b="0" spc="-50">
              <a:solidFill>
                <a:schemeClr val="tx1"/>
              </a:solidFill>
            </a:endParaRPr>
          </a:p>
        </p:txBody>
      </p:sp>
      <p:sp>
        <p:nvSpPr>
          <p:cNvPr id="112" name="Title 11">
            <a:extLst>
              <a:ext uri="{FF2B5EF4-FFF2-40B4-BE49-F238E27FC236}">
                <a16:creationId xmlns:a16="http://schemas.microsoft.com/office/drawing/2014/main" id="{C8976D8F-D9EE-6628-6CBA-17D0A6B4D285}"/>
              </a:ext>
            </a:extLst>
          </p:cNvPr>
          <p:cNvSpPr txBox="1">
            <a:spLocks/>
          </p:cNvSpPr>
          <p:nvPr/>
        </p:nvSpPr>
        <p:spPr>
          <a:xfrm>
            <a:off x="7886620" y="1416628"/>
            <a:ext cx="2376000" cy="40780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None/>
              <a:defRPr sz="1200" b="1" spc="-5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AU"/>
              <a:t> Millennials led online spend</a:t>
            </a:r>
          </a:p>
          <a:p>
            <a:r>
              <a:rPr lang="en-AU" sz="1100" b="0"/>
              <a:t>+11% YoY</a:t>
            </a:r>
            <a:r>
              <a:rPr lang="en-AU" sz="1100" b="0" baseline="30000">
                <a:solidFill>
                  <a:schemeClr val="tx1"/>
                </a:solidFill>
              </a:rPr>
              <a:t> </a:t>
            </a:r>
            <a:r>
              <a:rPr lang="en-AU" sz="1200" b="0" baseline="30000">
                <a:solidFill>
                  <a:schemeClr val="tx1"/>
                </a:solidFill>
              </a:rPr>
              <a:t>1 </a:t>
            </a:r>
            <a:endParaRPr lang="en-AU" b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144FF8-431F-E8EE-59C9-5A7BB98E630B}"/>
              </a:ext>
            </a:extLst>
          </p:cNvPr>
          <p:cNvGrpSpPr/>
          <p:nvPr/>
        </p:nvGrpSpPr>
        <p:grpSpPr>
          <a:xfrm>
            <a:off x="9541574" y="2053767"/>
            <a:ext cx="1183855" cy="1100022"/>
            <a:chOff x="9374586" y="4754880"/>
            <a:chExt cx="1255419" cy="1166517"/>
          </a:xfrm>
        </p:grpSpPr>
        <p:graphicFrame>
          <p:nvGraphicFramePr>
            <p:cNvPr id="114" name="Chart 113">
              <a:extLst>
                <a:ext uri="{FF2B5EF4-FFF2-40B4-BE49-F238E27FC236}">
                  <a16:creationId xmlns:a16="http://schemas.microsoft.com/office/drawing/2014/main" id="{8CB0C56F-6608-69B3-B80E-B49E419512B2}"/>
                </a:ext>
              </a:extLst>
            </p:cNvPr>
            <p:cNvGraphicFramePr/>
            <p:nvPr/>
          </p:nvGraphicFramePr>
          <p:xfrm>
            <a:off x="9374586" y="4754880"/>
            <a:ext cx="1255419" cy="116651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sp>
          <p:nvSpPr>
            <p:cNvPr id="116" name="Title 11">
              <a:extLst>
                <a:ext uri="{FF2B5EF4-FFF2-40B4-BE49-F238E27FC236}">
                  <a16:creationId xmlns:a16="http://schemas.microsoft.com/office/drawing/2014/main" id="{12C1028D-0F57-AE4F-86AB-4CBC804D43CE}"/>
                </a:ext>
              </a:extLst>
            </p:cNvPr>
            <p:cNvSpPr txBox="1">
              <a:spLocks/>
            </p:cNvSpPr>
            <p:nvPr/>
          </p:nvSpPr>
          <p:spPr>
            <a:xfrm>
              <a:off x="9803483" y="5446817"/>
              <a:ext cx="447975" cy="11080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1" kern="1200" spc="-100" baseline="0">
                  <a:gradFill flip="none" rotWithShape="1">
                    <a:gsLst>
                      <a:gs pos="0">
                        <a:schemeClr val="accent2"/>
                      </a:gs>
                      <a:gs pos="75000">
                        <a:schemeClr val="accent2"/>
                      </a:gs>
                      <a:gs pos="100000">
                        <a:schemeClr val="accent3"/>
                      </a:gs>
                    </a:gsLst>
                    <a:lin ang="0" scaled="1"/>
                    <a:tileRect/>
                  </a:gradFill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spcAft>
                  <a:spcPts val="600"/>
                </a:spcAft>
              </a:pPr>
              <a:r>
                <a:rPr lang="en-US" sz="800" spc="-50">
                  <a:gradFill flip="none" rotWithShape="1">
                    <a:gsLst>
                      <a:gs pos="0">
                        <a:schemeClr val="accent3"/>
                      </a:gs>
                      <a:gs pos="71600">
                        <a:srgbClr val="E31842"/>
                      </a:gs>
                      <a:gs pos="100000">
                        <a:schemeClr val="accent2"/>
                      </a:gs>
                    </a:gsLst>
                    <a:lin ang="0" scaled="1"/>
                    <a:tileRect/>
                  </a:gradFill>
                  <a:ea typeface="+mn-ea"/>
                  <a:cs typeface="+mn-cs"/>
                </a:rPr>
                <a:t>Gen Zs</a:t>
              </a:r>
              <a:endParaRPr lang="en-AU" sz="800" spc="-50">
                <a:gradFill flip="none" rotWithShape="1">
                  <a:gsLst>
                    <a:gs pos="0">
                      <a:schemeClr val="accent3"/>
                    </a:gs>
                    <a:gs pos="71600">
                      <a:srgbClr val="E31842"/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  <a:ea typeface="+mn-ea"/>
                <a:cs typeface="+mn-cs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5996562-B73C-3B09-F977-A4E0674A534A}"/>
              </a:ext>
            </a:extLst>
          </p:cNvPr>
          <p:cNvGrpSpPr/>
          <p:nvPr/>
        </p:nvGrpSpPr>
        <p:grpSpPr>
          <a:xfrm>
            <a:off x="10575247" y="2060400"/>
            <a:ext cx="1183855" cy="1100022"/>
            <a:chOff x="10543430" y="4761517"/>
            <a:chExt cx="1255419" cy="1166518"/>
          </a:xfrm>
        </p:grpSpPr>
        <p:graphicFrame>
          <p:nvGraphicFramePr>
            <p:cNvPr id="115" name="Chart 114">
              <a:extLst>
                <a:ext uri="{FF2B5EF4-FFF2-40B4-BE49-F238E27FC236}">
                  <a16:creationId xmlns:a16="http://schemas.microsoft.com/office/drawing/2014/main" id="{D16EAD5B-7083-5EDE-A012-37051BCB26FA}"/>
                </a:ext>
              </a:extLst>
            </p:cNvPr>
            <p:cNvGraphicFramePr/>
            <p:nvPr/>
          </p:nvGraphicFramePr>
          <p:xfrm>
            <a:off x="10543430" y="4761517"/>
            <a:ext cx="1255419" cy="116651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sp>
          <p:nvSpPr>
            <p:cNvPr id="117" name="Title 11">
              <a:extLst>
                <a:ext uri="{FF2B5EF4-FFF2-40B4-BE49-F238E27FC236}">
                  <a16:creationId xmlns:a16="http://schemas.microsoft.com/office/drawing/2014/main" id="{B1C6A538-79B7-172C-61A0-695BB96370E4}"/>
                </a:ext>
              </a:extLst>
            </p:cNvPr>
            <p:cNvSpPr txBox="1">
              <a:spLocks/>
            </p:cNvSpPr>
            <p:nvPr/>
          </p:nvSpPr>
          <p:spPr>
            <a:xfrm>
              <a:off x="10860836" y="5454330"/>
              <a:ext cx="670961" cy="11080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1" kern="1200" spc="-100" baseline="0">
                  <a:gradFill flip="none" rotWithShape="1">
                    <a:gsLst>
                      <a:gs pos="0">
                        <a:schemeClr val="accent2"/>
                      </a:gs>
                      <a:gs pos="75000">
                        <a:schemeClr val="accent2"/>
                      </a:gs>
                      <a:gs pos="100000">
                        <a:schemeClr val="accent3"/>
                      </a:gs>
                    </a:gsLst>
                    <a:lin ang="0" scaled="1"/>
                    <a:tileRect/>
                  </a:gradFill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spcAft>
                  <a:spcPts val="600"/>
                </a:spcAft>
              </a:pPr>
              <a:r>
                <a:rPr lang="en-US" sz="800" spc="-50">
                  <a:gradFill flip="none" rotWithShape="1">
                    <a:gsLst>
                      <a:gs pos="0">
                        <a:schemeClr val="accent3"/>
                      </a:gs>
                      <a:gs pos="71600">
                        <a:srgbClr val="E31842"/>
                      </a:gs>
                      <a:gs pos="100000">
                        <a:schemeClr val="accent2"/>
                      </a:gs>
                    </a:gsLst>
                    <a:lin ang="0" scaled="1"/>
                    <a:tileRect/>
                  </a:gradFill>
                  <a:ea typeface="+mn-ea"/>
                  <a:cs typeface="+mn-cs"/>
                </a:rPr>
                <a:t>Millennials</a:t>
              </a:r>
              <a:endParaRPr lang="en-AU" sz="800" spc="-50">
                <a:gradFill flip="none" rotWithShape="1">
                  <a:gsLst>
                    <a:gs pos="0">
                      <a:schemeClr val="accent3"/>
                    </a:gs>
                    <a:gs pos="71600">
                      <a:srgbClr val="E31842"/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  <a:ea typeface="+mn-ea"/>
                <a:cs typeface="+mn-cs"/>
              </a:endParaRPr>
            </a:p>
          </p:txBody>
        </p:sp>
      </p:grpSp>
      <p:sp>
        <p:nvSpPr>
          <p:cNvPr id="118" name="Freeform: Shape 117">
            <a:extLst>
              <a:ext uri="{FF2B5EF4-FFF2-40B4-BE49-F238E27FC236}">
                <a16:creationId xmlns:a16="http://schemas.microsoft.com/office/drawing/2014/main" id="{B8A86BF7-BC83-924A-2E8E-EDE09C09CCA8}"/>
              </a:ext>
            </a:extLst>
          </p:cNvPr>
          <p:cNvSpPr/>
          <p:nvPr/>
        </p:nvSpPr>
        <p:spPr>
          <a:xfrm>
            <a:off x="7918425" y="1995701"/>
            <a:ext cx="271428" cy="271428"/>
          </a:xfrm>
          <a:custGeom>
            <a:avLst/>
            <a:gdLst>
              <a:gd name="connsiteX0" fmla="*/ 0 w 323850"/>
              <a:gd name="connsiteY0" fmla="*/ 9525 h 323850"/>
              <a:gd name="connsiteX1" fmla="*/ 0 w 323850"/>
              <a:gd name="connsiteY1" fmla="*/ 314325 h 323850"/>
              <a:gd name="connsiteX2" fmla="*/ 9525 w 323850"/>
              <a:gd name="connsiteY2" fmla="*/ 323850 h 323850"/>
              <a:gd name="connsiteX3" fmla="*/ 171450 w 323850"/>
              <a:gd name="connsiteY3" fmla="*/ 323850 h 323850"/>
              <a:gd name="connsiteX4" fmla="*/ 171450 w 323850"/>
              <a:gd name="connsiteY4" fmla="*/ 304800 h 323850"/>
              <a:gd name="connsiteX5" fmla="*/ 171450 w 323850"/>
              <a:gd name="connsiteY5" fmla="*/ 304800 h 323850"/>
              <a:gd name="connsiteX6" fmla="*/ 171450 w 323850"/>
              <a:gd name="connsiteY6" fmla="*/ 19050 h 323850"/>
              <a:gd name="connsiteX7" fmla="*/ 171450 w 323850"/>
              <a:gd name="connsiteY7" fmla="*/ 19050 h 323850"/>
              <a:gd name="connsiteX8" fmla="*/ 171450 w 323850"/>
              <a:gd name="connsiteY8" fmla="*/ 0 h 323850"/>
              <a:gd name="connsiteX9" fmla="*/ 9525 w 323850"/>
              <a:gd name="connsiteY9" fmla="*/ 0 h 323850"/>
              <a:gd name="connsiteX10" fmla="*/ 0 w 323850"/>
              <a:gd name="connsiteY10" fmla="*/ 9525 h 323850"/>
              <a:gd name="connsiteX11" fmla="*/ 152400 w 323850"/>
              <a:gd name="connsiteY11" fmla="*/ 219075 h 323850"/>
              <a:gd name="connsiteX12" fmla="*/ 19050 w 323850"/>
              <a:gd name="connsiteY12" fmla="*/ 219075 h 323850"/>
              <a:gd name="connsiteX13" fmla="*/ 19050 w 323850"/>
              <a:gd name="connsiteY13" fmla="*/ 190500 h 323850"/>
              <a:gd name="connsiteX14" fmla="*/ 152400 w 323850"/>
              <a:gd name="connsiteY14" fmla="*/ 190500 h 323850"/>
              <a:gd name="connsiteX15" fmla="*/ 152400 w 323850"/>
              <a:gd name="connsiteY15" fmla="*/ 219075 h 323850"/>
              <a:gd name="connsiteX16" fmla="*/ 152400 w 323850"/>
              <a:gd name="connsiteY16" fmla="*/ 171450 h 323850"/>
              <a:gd name="connsiteX17" fmla="*/ 19050 w 323850"/>
              <a:gd name="connsiteY17" fmla="*/ 171450 h 323850"/>
              <a:gd name="connsiteX18" fmla="*/ 19050 w 323850"/>
              <a:gd name="connsiteY18" fmla="*/ 142875 h 323850"/>
              <a:gd name="connsiteX19" fmla="*/ 152400 w 323850"/>
              <a:gd name="connsiteY19" fmla="*/ 142875 h 323850"/>
              <a:gd name="connsiteX20" fmla="*/ 152400 w 323850"/>
              <a:gd name="connsiteY20" fmla="*/ 171450 h 323850"/>
              <a:gd name="connsiteX21" fmla="*/ 19050 w 323850"/>
              <a:gd name="connsiteY21" fmla="*/ 304800 h 323850"/>
              <a:gd name="connsiteX22" fmla="*/ 19050 w 323850"/>
              <a:gd name="connsiteY22" fmla="*/ 238125 h 323850"/>
              <a:gd name="connsiteX23" fmla="*/ 152400 w 323850"/>
              <a:gd name="connsiteY23" fmla="*/ 238125 h 323850"/>
              <a:gd name="connsiteX24" fmla="*/ 152400 w 323850"/>
              <a:gd name="connsiteY24" fmla="*/ 304800 h 323850"/>
              <a:gd name="connsiteX25" fmla="*/ 19050 w 323850"/>
              <a:gd name="connsiteY25" fmla="*/ 304800 h 323850"/>
              <a:gd name="connsiteX26" fmla="*/ 152400 w 323850"/>
              <a:gd name="connsiteY26" fmla="*/ 19050 h 323850"/>
              <a:gd name="connsiteX27" fmla="*/ 152400 w 323850"/>
              <a:gd name="connsiteY27" fmla="*/ 123825 h 323850"/>
              <a:gd name="connsiteX28" fmla="*/ 19050 w 323850"/>
              <a:gd name="connsiteY28" fmla="*/ 123825 h 323850"/>
              <a:gd name="connsiteX29" fmla="*/ 19050 w 323850"/>
              <a:gd name="connsiteY29" fmla="*/ 19050 h 323850"/>
              <a:gd name="connsiteX30" fmla="*/ 152400 w 323850"/>
              <a:gd name="connsiteY30" fmla="*/ 19050 h 323850"/>
              <a:gd name="connsiteX31" fmla="*/ 323850 w 323850"/>
              <a:gd name="connsiteY31" fmla="*/ 9525 h 323850"/>
              <a:gd name="connsiteX32" fmla="*/ 323850 w 323850"/>
              <a:gd name="connsiteY32" fmla="*/ 314325 h 323850"/>
              <a:gd name="connsiteX33" fmla="*/ 314325 w 323850"/>
              <a:gd name="connsiteY33" fmla="*/ 323850 h 323850"/>
              <a:gd name="connsiteX34" fmla="*/ 190500 w 323850"/>
              <a:gd name="connsiteY34" fmla="*/ 323850 h 323850"/>
              <a:gd name="connsiteX35" fmla="*/ 190500 w 323850"/>
              <a:gd name="connsiteY35" fmla="*/ 304800 h 323850"/>
              <a:gd name="connsiteX36" fmla="*/ 304800 w 323850"/>
              <a:gd name="connsiteY36" fmla="*/ 304800 h 323850"/>
              <a:gd name="connsiteX37" fmla="*/ 304800 w 323850"/>
              <a:gd name="connsiteY37" fmla="*/ 19050 h 323850"/>
              <a:gd name="connsiteX38" fmla="*/ 190500 w 323850"/>
              <a:gd name="connsiteY38" fmla="*/ 19050 h 323850"/>
              <a:gd name="connsiteX39" fmla="*/ 190500 w 323850"/>
              <a:gd name="connsiteY39" fmla="*/ 0 h 323850"/>
              <a:gd name="connsiteX40" fmla="*/ 314325 w 323850"/>
              <a:gd name="connsiteY40" fmla="*/ 0 h 323850"/>
              <a:gd name="connsiteX41" fmla="*/ 323850 w 323850"/>
              <a:gd name="connsiteY41" fmla="*/ 9525 h 323850"/>
              <a:gd name="connsiteX42" fmla="*/ 200025 w 323850"/>
              <a:gd name="connsiteY42" fmla="*/ 190500 h 323850"/>
              <a:gd name="connsiteX43" fmla="*/ 276225 w 323850"/>
              <a:gd name="connsiteY43" fmla="*/ 190500 h 323850"/>
              <a:gd name="connsiteX44" fmla="*/ 285750 w 323850"/>
              <a:gd name="connsiteY44" fmla="*/ 180975 h 323850"/>
              <a:gd name="connsiteX45" fmla="*/ 285750 w 323850"/>
              <a:gd name="connsiteY45" fmla="*/ 114300 h 323850"/>
              <a:gd name="connsiteX46" fmla="*/ 276225 w 323850"/>
              <a:gd name="connsiteY46" fmla="*/ 104775 h 323850"/>
              <a:gd name="connsiteX47" fmla="*/ 200025 w 323850"/>
              <a:gd name="connsiteY47" fmla="*/ 104775 h 323850"/>
              <a:gd name="connsiteX48" fmla="*/ 190500 w 323850"/>
              <a:gd name="connsiteY48" fmla="*/ 114300 h 323850"/>
              <a:gd name="connsiteX49" fmla="*/ 190500 w 323850"/>
              <a:gd name="connsiteY49" fmla="*/ 180975 h 323850"/>
              <a:gd name="connsiteX50" fmla="*/ 200025 w 323850"/>
              <a:gd name="connsiteY50" fmla="*/ 190500 h 323850"/>
              <a:gd name="connsiteX51" fmla="*/ 209550 w 323850"/>
              <a:gd name="connsiteY51" fmla="*/ 123825 h 323850"/>
              <a:gd name="connsiteX52" fmla="*/ 266700 w 323850"/>
              <a:gd name="connsiteY52" fmla="*/ 123825 h 323850"/>
              <a:gd name="connsiteX53" fmla="*/ 266700 w 323850"/>
              <a:gd name="connsiteY53" fmla="*/ 171450 h 323850"/>
              <a:gd name="connsiteX54" fmla="*/ 209550 w 323850"/>
              <a:gd name="connsiteY54" fmla="*/ 171450 h 323850"/>
              <a:gd name="connsiteX55" fmla="*/ 209550 w 323850"/>
              <a:gd name="connsiteY55" fmla="*/ 123825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323850" h="323850">
                <a:moveTo>
                  <a:pt x="0" y="9525"/>
                </a:moveTo>
                <a:lnTo>
                  <a:pt x="0" y="314325"/>
                </a:lnTo>
                <a:cubicBezTo>
                  <a:pt x="0" y="319564"/>
                  <a:pt x="4286" y="323850"/>
                  <a:pt x="9525" y="323850"/>
                </a:cubicBezTo>
                <a:lnTo>
                  <a:pt x="171450" y="323850"/>
                </a:lnTo>
                <a:lnTo>
                  <a:pt x="171450" y="304800"/>
                </a:lnTo>
                <a:lnTo>
                  <a:pt x="171450" y="304800"/>
                </a:lnTo>
                <a:lnTo>
                  <a:pt x="171450" y="19050"/>
                </a:lnTo>
                <a:lnTo>
                  <a:pt x="171450" y="19050"/>
                </a:lnTo>
                <a:lnTo>
                  <a:pt x="171450" y="0"/>
                </a:lnTo>
                <a:lnTo>
                  <a:pt x="9525" y="0"/>
                </a:lnTo>
                <a:cubicBezTo>
                  <a:pt x="4286" y="0"/>
                  <a:pt x="0" y="4286"/>
                  <a:pt x="0" y="9525"/>
                </a:cubicBezTo>
                <a:close/>
                <a:moveTo>
                  <a:pt x="152400" y="219075"/>
                </a:moveTo>
                <a:lnTo>
                  <a:pt x="19050" y="219075"/>
                </a:lnTo>
                <a:lnTo>
                  <a:pt x="19050" y="190500"/>
                </a:lnTo>
                <a:lnTo>
                  <a:pt x="152400" y="190500"/>
                </a:lnTo>
                <a:lnTo>
                  <a:pt x="152400" y="219075"/>
                </a:lnTo>
                <a:close/>
                <a:moveTo>
                  <a:pt x="152400" y="171450"/>
                </a:moveTo>
                <a:lnTo>
                  <a:pt x="19050" y="171450"/>
                </a:lnTo>
                <a:lnTo>
                  <a:pt x="19050" y="142875"/>
                </a:lnTo>
                <a:lnTo>
                  <a:pt x="152400" y="142875"/>
                </a:lnTo>
                <a:lnTo>
                  <a:pt x="152400" y="171450"/>
                </a:lnTo>
                <a:close/>
                <a:moveTo>
                  <a:pt x="19050" y="304800"/>
                </a:moveTo>
                <a:lnTo>
                  <a:pt x="19050" y="238125"/>
                </a:lnTo>
                <a:lnTo>
                  <a:pt x="152400" y="238125"/>
                </a:lnTo>
                <a:lnTo>
                  <a:pt x="152400" y="304800"/>
                </a:lnTo>
                <a:lnTo>
                  <a:pt x="19050" y="304800"/>
                </a:lnTo>
                <a:close/>
                <a:moveTo>
                  <a:pt x="152400" y="19050"/>
                </a:moveTo>
                <a:lnTo>
                  <a:pt x="152400" y="123825"/>
                </a:lnTo>
                <a:lnTo>
                  <a:pt x="19050" y="123825"/>
                </a:lnTo>
                <a:lnTo>
                  <a:pt x="19050" y="19050"/>
                </a:lnTo>
                <a:lnTo>
                  <a:pt x="152400" y="19050"/>
                </a:lnTo>
                <a:close/>
                <a:moveTo>
                  <a:pt x="323850" y="9525"/>
                </a:moveTo>
                <a:lnTo>
                  <a:pt x="323850" y="314325"/>
                </a:lnTo>
                <a:cubicBezTo>
                  <a:pt x="323850" y="319564"/>
                  <a:pt x="319564" y="323850"/>
                  <a:pt x="314325" y="323850"/>
                </a:cubicBezTo>
                <a:lnTo>
                  <a:pt x="190500" y="323850"/>
                </a:lnTo>
                <a:lnTo>
                  <a:pt x="190500" y="304800"/>
                </a:lnTo>
                <a:lnTo>
                  <a:pt x="304800" y="304800"/>
                </a:lnTo>
                <a:lnTo>
                  <a:pt x="304800" y="19050"/>
                </a:lnTo>
                <a:lnTo>
                  <a:pt x="190500" y="19050"/>
                </a:lnTo>
                <a:lnTo>
                  <a:pt x="190500" y="0"/>
                </a:lnTo>
                <a:lnTo>
                  <a:pt x="314325" y="0"/>
                </a:lnTo>
                <a:cubicBezTo>
                  <a:pt x="319564" y="0"/>
                  <a:pt x="323850" y="4286"/>
                  <a:pt x="323850" y="9525"/>
                </a:cubicBezTo>
                <a:close/>
                <a:moveTo>
                  <a:pt x="200025" y="190500"/>
                </a:moveTo>
                <a:lnTo>
                  <a:pt x="276225" y="190500"/>
                </a:lnTo>
                <a:cubicBezTo>
                  <a:pt x="281464" y="190500"/>
                  <a:pt x="285750" y="186214"/>
                  <a:pt x="285750" y="180975"/>
                </a:cubicBezTo>
                <a:lnTo>
                  <a:pt x="285750" y="114300"/>
                </a:lnTo>
                <a:cubicBezTo>
                  <a:pt x="285750" y="109061"/>
                  <a:pt x="281464" y="104775"/>
                  <a:pt x="276225" y="104775"/>
                </a:cubicBezTo>
                <a:lnTo>
                  <a:pt x="200025" y="104775"/>
                </a:lnTo>
                <a:cubicBezTo>
                  <a:pt x="194786" y="104775"/>
                  <a:pt x="190500" y="109061"/>
                  <a:pt x="190500" y="114300"/>
                </a:cubicBezTo>
                <a:lnTo>
                  <a:pt x="190500" y="180975"/>
                </a:lnTo>
                <a:cubicBezTo>
                  <a:pt x="190500" y="186214"/>
                  <a:pt x="194786" y="190500"/>
                  <a:pt x="200025" y="190500"/>
                </a:cubicBezTo>
                <a:close/>
                <a:moveTo>
                  <a:pt x="209550" y="123825"/>
                </a:moveTo>
                <a:lnTo>
                  <a:pt x="266700" y="123825"/>
                </a:lnTo>
                <a:lnTo>
                  <a:pt x="266700" y="171450"/>
                </a:lnTo>
                <a:lnTo>
                  <a:pt x="209550" y="171450"/>
                </a:lnTo>
                <a:lnTo>
                  <a:pt x="209550" y="12382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2E78B56F-77D4-CD08-1DE8-B073B74F6D51}"/>
              </a:ext>
            </a:extLst>
          </p:cNvPr>
          <p:cNvGrpSpPr/>
          <p:nvPr/>
        </p:nvGrpSpPr>
        <p:grpSpPr>
          <a:xfrm>
            <a:off x="780637" y="2478408"/>
            <a:ext cx="1240234" cy="378672"/>
            <a:chOff x="9499134" y="1213972"/>
            <a:chExt cx="1430751" cy="436841"/>
          </a:xfrm>
        </p:grpSpPr>
        <p:sp>
          <p:nvSpPr>
            <p:cNvPr id="121" name="Rectangle: Rounded Corners 36">
              <a:extLst>
                <a:ext uri="{FF2B5EF4-FFF2-40B4-BE49-F238E27FC236}">
                  <a16:creationId xmlns:a16="http://schemas.microsoft.com/office/drawing/2014/main" id="{C555C862-EF59-1A20-CDDA-79E4D3B158DF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/>
            <p:nvPr/>
          </p:nvSpPr>
          <p:spPr>
            <a:xfrm>
              <a:off x="9862981" y="1324670"/>
              <a:ext cx="933211" cy="215444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P Type Pro Text"/>
                  <a:ea typeface="+mn-ea"/>
                  <a:cs typeface="+mn-cs"/>
                </a:rPr>
                <a:t>2.3% YoY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 Type Pro Text"/>
                <a:ea typeface="+mn-ea"/>
                <a:cs typeface="+mn-cs"/>
              </a:endParaRPr>
            </a:p>
          </p:txBody>
        </p:sp>
        <p:cxnSp>
          <p:nvCxnSpPr>
            <p:cNvPr id="122" name="Straight Arrow Connector 121">
              <a:extLst>
                <a:ext uri="{FF2B5EF4-FFF2-40B4-BE49-F238E27FC236}">
                  <a16:creationId xmlns:a16="http://schemas.microsoft.com/office/drawing/2014/main" id="{EF69FC77-A667-0C02-BE51-9F7DF875E9E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31557" y="1346282"/>
              <a:ext cx="0" cy="172220"/>
            </a:xfrm>
            <a:prstGeom prst="straightConnector1">
              <a:avLst/>
            </a:prstGeom>
            <a:ln w="12700" cap="sq">
              <a:solidFill>
                <a:schemeClr val="bg1"/>
              </a:solidFill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sp>
          <p:nvSpPr>
            <p:cNvPr id="123" name="Rectangle: Rounded Corners 122">
              <a:extLst>
                <a:ext uri="{FF2B5EF4-FFF2-40B4-BE49-F238E27FC236}">
                  <a16:creationId xmlns:a16="http://schemas.microsoft.com/office/drawing/2014/main" id="{D6375B14-068E-7CD3-2485-05718463EC4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499134" y="1213972"/>
              <a:ext cx="1430751" cy="436841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144000" tIns="10800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 Type Pro Text"/>
                <a:ea typeface="+mn-ea"/>
                <a:cs typeface="+mn-cs"/>
              </a:endParaRPr>
            </a:p>
          </p:txBody>
        </p:sp>
      </p:grpSp>
      <p:sp>
        <p:nvSpPr>
          <p:cNvPr id="127" name="Freeform: Shape 126">
            <a:extLst>
              <a:ext uri="{FF2B5EF4-FFF2-40B4-BE49-F238E27FC236}">
                <a16:creationId xmlns:a16="http://schemas.microsoft.com/office/drawing/2014/main" id="{A2A4FEBC-667F-50E3-C133-35D3F2ED67C9}"/>
              </a:ext>
            </a:extLst>
          </p:cNvPr>
          <p:cNvSpPr/>
          <p:nvPr/>
        </p:nvSpPr>
        <p:spPr>
          <a:xfrm>
            <a:off x="780636" y="3276181"/>
            <a:ext cx="293814" cy="220361"/>
          </a:xfrm>
          <a:custGeom>
            <a:avLst/>
            <a:gdLst>
              <a:gd name="connsiteX0" fmla="*/ 47625 w 381000"/>
              <a:gd name="connsiteY0" fmla="*/ 209550 h 285750"/>
              <a:gd name="connsiteX1" fmla="*/ 114300 w 381000"/>
              <a:gd name="connsiteY1" fmla="*/ 209550 h 285750"/>
              <a:gd name="connsiteX2" fmla="*/ 114300 w 381000"/>
              <a:gd name="connsiteY2" fmla="*/ 228600 h 285750"/>
              <a:gd name="connsiteX3" fmla="*/ 47625 w 381000"/>
              <a:gd name="connsiteY3" fmla="*/ 228600 h 285750"/>
              <a:gd name="connsiteX4" fmla="*/ 47625 w 381000"/>
              <a:gd name="connsiteY4" fmla="*/ 209550 h 285750"/>
              <a:gd name="connsiteX5" fmla="*/ 133350 w 381000"/>
              <a:gd name="connsiteY5" fmla="*/ 171450 h 285750"/>
              <a:gd name="connsiteX6" fmla="*/ 47625 w 381000"/>
              <a:gd name="connsiteY6" fmla="*/ 171450 h 285750"/>
              <a:gd name="connsiteX7" fmla="*/ 47625 w 381000"/>
              <a:gd name="connsiteY7" fmla="*/ 190500 h 285750"/>
              <a:gd name="connsiteX8" fmla="*/ 133350 w 381000"/>
              <a:gd name="connsiteY8" fmla="*/ 190500 h 285750"/>
              <a:gd name="connsiteX9" fmla="*/ 133350 w 381000"/>
              <a:gd name="connsiteY9" fmla="*/ 171450 h 285750"/>
              <a:gd name="connsiteX10" fmla="*/ 285750 w 381000"/>
              <a:gd name="connsiteY10" fmla="*/ 209550 h 285750"/>
              <a:gd name="connsiteX11" fmla="*/ 304800 w 381000"/>
              <a:gd name="connsiteY11" fmla="*/ 228600 h 285750"/>
              <a:gd name="connsiteX12" fmla="*/ 323850 w 381000"/>
              <a:gd name="connsiteY12" fmla="*/ 209550 h 285750"/>
              <a:gd name="connsiteX13" fmla="*/ 304800 w 381000"/>
              <a:gd name="connsiteY13" fmla="*/ 190500 h 285750"/>
              <a:gd name="connsiteX14" fmla="*/ 285750 w 381000"/>
              <a:gd name="connsiteY14" fmla="*/ 209550 h 285750"/>
              <a:gd name="connsiteX15" fmla="*/ 361950 w 381000"/>
              <a:gd name="connsiteY15" fmla="*/ 114300 h 285750"/>
              <a:gd name="connsiteX16" fmla="*/ 19050 w 381000"/>
              <a:gd name="connsiteY16" fmla="*/ 114300 h 285750"/>
              <a:gd name="connsiteX17" fmla="*/ 19050 w 381000"/>
              <a:gd name="connsiteY17" fmla="*/ 257175 h 285750"/>
              <a:gd name="connsiteX18" fmla="*/ 28575 w 381000"/>
              <a:gd name="connsiteY18" fmla="*/ 266700 h 285750"/>
              <a:gd name="connsiteX19" fmla="*/ 352425 w 381000"/>
              <a:gd name="connsiteY19" fmla="*/ 266700 h 285750"/>
              <a:gd name="connsiteX20" fmla="*/ 361950 w 381000"/>
              <a:gd name="connsiteY20" fmla="*/ 257175 h 285750"/>
              <a:gd name="connsiteX21" fmla="*/ 361950 w 381000"/>
              <a:gd name="connsiteY21" fmla="*/ 133350 h 285750"/>
              <a:gd name="connsiteX22" fmla="*/ 381000 w 381000"/>
              <a:gd name="connsiteY22" fmla="*/ 133350 h 285750"/>
              <a:gd name="connsiteX23" fmla="*/ 381000 w 381000"/>
              <a:gd name="connsiteY23" fmla="*/ 257175 h 285750"/>
              <a:gd name="connsiteX24" fmla="*/ 352425 w 381000"/>
              <a:gd name="connsiteY24" fmla="*/ 285750 h 285750"/>
              <a:gd name="connsiteX25" fmla="*/ 28575 w 381000"/>
              <a:gd name="connsiteY25" fmla="*/ 285750 h 285750"/>
              <a:gd name="connsiteX26" fmla="*/ 0 w 381000"/>
              <a:gd name="connsiteY26" fmla="*/ 257175 h 285750"/>
              <a:gd name="connsiteX27" fmla="*/ 0 w 381000"/>
              <a:gd name="connsiteY27" fmla="*/ 95250 h 285750"/>
              <a:gd name="connsiteX28" fmla="*/ 361950 w 381000"/>
              <a:gd name="connsiteY28" fmla="*/ 95250 h 285750"/>
              <a:gd name="connsiteX29" fmla="*/ 361950 w 381000"/>
              <a:gd name="connsiteY29" fmla="*/ 76200 h 285750"/>
              <a:gd name="connsiteX30" fmla="*/ 0 w 381000"/>
              <a:gd name="connsiteY30" fmla="*/ 76200 h 285750"/>
              <a:gd name="connsiteX31" fmla="*/ 0 w 381000"/>
              <a:gd name="connsiteY31" fmla="*/ 28575 h 285750"/>
              <a:gd name="connsiteX32" fmla="*/ 28575 w 381000"/>
              <a:gd name="connsiteY32" fmla="*/ 0 h 285750"/>
              <a:gd name="connsiteX33" fmla="*/ 352425 w 381000"/>
              <a:gd name="connsiteY33" fmla="*/ 0 h 285750"/>
              <a:gd name="connsiteX34" fmla="*/ 381000 w 381000"/>
              <a:gd name="connsiteY34" fmla="*/ 28575 h 285750"/>
              <a:gd name="connsiteX35" fmla="*/ 381000 w 381000"/>
              <a:gd name="connsiteY35" fmla="*/ 114300 h 285750"/>
              <a:gd name="connsiteX36" fmla="*/ 361950 w 381000"/>
              <a:gd name="connsiteY36" fmla="*/ 114300 h 285750"/>
              <a:gd name="connsiteX37" fmla="*/ 361950 w 381000"/>
              <a:gd name="connsiteY37" fmla="*/ 57150 h 285750"/>
              <a:gd name="connsiteX38" fmla="*/ 361950 w 381000"/>
              <a:gd name="connsiteY38" fmla="*/ 28575 h 285750"/>
              <a:gd name="connsiteX39" fmla="*/ 352425 w 381000"/>
              <a:gd name="connsiteY39" fmla="*/ 19050 h 285750"/>
              <a:gd name="connsiteX40" fmla="*/ 28575 w 381000"/>
              <a:gd name="connsiteY40" fmla="*/ 19050 h 285750"/>
              <a:gd name="connsiteX41" fmla="*/ 19050 w 381000"/>
              <a:gd name="connsiteY41" fmla="*/ 28575 h 285750"/>
              <a:gd name="connsiteX42" fmla="*/ 19050 w 381000"/>
              <a:gd name="connsiteY42" fmla="*/ 57150 h 285750"/>
              <a:gd name="connsiteX43" fmla="*/ 361950 w 381000"/>
              <a:gd name="connsiteY43" fmla="*/ 5715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81000" h="285750">
                <a:moveTo>
                  <a:pt x="47625" y="209550"/>
                </a:moveTo>
                <a:lnTo>
                  <a:pt x="114300" y="209550"/>
                </a:lnTo>
                <a:lnTo>
                  <a:pt x="114300" y="228600"/>
                </a:lnTo>
                <a:lnTo>
                  <a:pt x="47625" y="228600"/>
                </a:lnTo>
                <a:lnTo>
                  <a:pt x="47625" y="209550"/>
                </a:lnTo>
                <a:close/>
                <a:moveTo>
                  <a:pt x="133350" y="171450"/>
                </a:moveTo>
                <a:lnTo>
                  <a:pt x="47625" y="171450"/>
                </a:lnTo>
                <a:lnTo>
                  <a:pt x="47625" y="190500"/>
                </a:lnTo>
                <a:lnTo>
                  <a:pt x="133350" y="190500"/>
                </a:lnTo>
                <a:lnTo>
                  <a:pt x="133350" y="171450"/>
                </a:lnTo>
                <a:close/>
                <a:moveTo>
                  <a:pt x="285750" y="209550"/>
                </a:moveTo>
                <a:cubicBezTo>
                  <a:pt x="285750" y="220028"/>
                  <a:pt x="294323" y="228600"/>
                  <a:pt x="304800" y="228600"/>
                </a:cubicBezTo>
                <a:cubicBezTo>
                  <a:pt x="315278" y="228600"/>
                  <a:pt x="323850" y="220028"/>
                  <a:pt x="323850" y="209550"/>
                </a:cubicBezTo>
                <a:cubicBezTo>
                  <a:pt x="323850" y="199073"/>
                  <a:pt x="315278" y="190500"/>
                  <a:pt x="304800" y="190500"/>
                </a:cubicBezTo>
                <a:cubicBezTo>
                  <a:pt x="294323" y="190500"/>
                  <a:pt x="285750" y="199073"/>
                  <a:pt x="285750" y="209550"/>
                </a:cubicBezTo>
                <a:close/>
                <a:moveTo>
                  <a:pt x="361950" y="114300"/>
                </a:moveTo>
                <a:lnTo>
                  <a:pt x="19050" y="114300"/>
                </a:lnTo>
                <a:lnTo>
                  <a:pt x="19050" y="257175"/>
                </a:lnTo>
                <a:cubicBezTo>
                  <a:pt x="19050" y="262414"/>
                  <a:pt x="23336" y="266700"/>
                  <a:pt x="28575" y="266700"/>
                </a:cubicBezTo>
                <a:lnTo>
                  <a:pt x="352425" y="266700"/>
                </a:lnTo>
                <a:cubicBezTo>
                  <a:pt x="357664" y="266700"/>
                  <a:pt x="361950" y="262414"/>
                  <a:pt x="361950" y="257175"/>
                </a:cubicBezTo>
                <a:lnTo>
                  <a:pt x="361950" y="133350"/>
                </a:lnTo>
                <a:lnTo>
                  <a:pt x="381000" y="133350"/>
                </a:lnTo>
                <a:lnTo>
                  <a:pt x="381000" y="257175"/>
                </a:lnTo>
                <a:cubicBezTo>
                  <a:pt x="381000" y="272891"/>
                  <a:pt x="368141" y="285750"/>
                  <a:pt x="352425" y="285750"/>
                </a:cubicBezTo>
                <a:lnTo>
                  <a:pt x="28575" y="285750"/>
                </a:lnTo>
                <a:cubicBezTo>
                  <a:pt x="12859" y="285750"/>
                  <a:pt x="0" y="272891"/>
                  <a:pt x="0" y="257175"/>
                </a:cubicBezTo>
                <a:lnTo>
                  <a:pt x="0" y="95250"/>
                </a:lnTo>
                <a:lnTo>
                  <a:pt x="361950" y="95250"/>
                </a:lnTo>
                <a:lnTo>
                  <a:pt x="361950" y="76200"/>
                </a:lnTo>
                <a:lnTo>
                  <a:pt x="0" y="76200"/>
                </a:lnTo>
                <a:lnTo>
                  <a:pt x="0" y="28575"/>
                </a:lnTo>
                <a:cubicBezTo>
                  <a:pt x="0" y="12859"/>
                  <a:pt x="12859" y="0"/>
                  <a:pt x="28575" y="0"/>
                </a:cubicBezTo>
                <a:lnTo>
                  <a:pt x="352425" y="0"/>
                </a:lnTo>
                <a:cubicBezTo>
                  <a:pt x="368141" y="0"/>
                  <a:pt x="381000" y="12859"/>
                  <a:pt x="381000" y="28575"/>
                </a:cubicBezTo>
                <a:lnTo>
                  <a:pt x="381000" y="114300"/>
                </a:lnTo>
                <a:lnTo>
                  <a:pt x="361950" y="114300"/>
                </a:lnTo>
                <a:close/>
                <a:moveTo>
                  <a:pt x="361950" y="57150"/>
                </a:moveTo>
                <a:lnTo>
                  <a:pt x="361950" y="28575"/>
                </a:lnTo>
                <a:cubicBezTo>
                  <a:pt x="361950" y="23336"/>
                  <a:pt x="357664" y="19050"/>
                  <a:pt x="352425" y="19050"/>
                </a:cubicBezTo>
                <a:lnTo>
                  <a:pt x="28575" y="19050"/>
                </a:lnTo>
                <a:cubicBezTo>
                  <a:pt x="23336" y="19050"/>
                  <a:pt x="19050" y="23336"/>
                  <a:pt x="19050" y="28575"/>
                </a:cubicBezTo>
                <a:lnTo>
                  <a:pt x="19050" y="57150"/>
                </a:lnTo>
                <a:lnTo>
                  <a:pt x="361950" y="57150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>
              <a:solidFill>
                <a:schemeClr val="bg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6F5238-5445-ED69-1FBD-0CAD3E974D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2025 Australia Po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C630EC-5231-7542-7E54-8F851FF71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16B6A-336A-44FF-82DA-A4D1594FA055}" type="slidenum">
              <a:rPr lang="en-AU" smtClean="0"/>
              <a:t>2</a:t>
            </a:fld>
            <a:endParaRPr lang="en-AU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38BA98C-8113-CD43-31A3-D75025B35343}"/>
              </a:ext>
            </a:extLst>
          </p:cNvPr>
          <p:cNvGrpSpPr/>
          <p:nvPr/>
        </p:nvGrpSpPr>
        <p:grpSpPr>
          <a:xfrm>
            <a:off x="780637" y="4624603"/>
            <a:ext cx="1240234" cy="378672"/>
            <a:chOff x="9499134" y="1213972"/>
            <a:chExt cx="1430751" cy="436841"/>
          </a:xfrm>
        </p:grpSpPr>
        <p:sp>
          <p:nvSpPr>
            <p:cNvPr id="5" name="Rectangle: Rounded Corners 36">
              <a:extLst>
                <a:ext uri="{FF2B5EF4-FFF2-40B4-BE49-F238E27FC236}">
                  <a16:creationId xmlns:a16="http://schemas.microsoft.com/office/drawing/2014/main" id="{283832FD-5A4E-84CC-5920-58FF5A33439F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/>
            <p:nvPr/>
          </p:nvSpPr>
          <p:spPr>
            <a:xfrm>
              <a:off x="9862981" y="1308123"/>
              <a:ext cx="933211" cy="248539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P Type Pro Text"/>
                  <a:ea typeface="+mn-ea"/>
                  <a:cs typeface="+mn-cs"/>
                </a:rPr>
                <a:t>12% YoY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 Type Pro Text"/>
                <a:ea typeface="+mn-ea"/>
                <a:cs typeface="+mn-cs"/>
              </a:endParaRPr>
            </a:p>
          </p:txBody>
        </p:sp>
        <p:cxnSp>
          <p:nvCxnSpPr>
            <p:cNvPr id="6" name="Straight Arrow Connector 5">
              <a:extLst>
                <a:ext uri="{FF2B5EF4-FFF2-40B4-BE49-F238E27FC236}">
                  <a16:creationId xmlns:a16="http://schemas.microsoft.com/office/drawing/2014/main" id="{6310E6DD-82F4-F411-4808-1B5C10B8805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31557" y="1346282"/>
              <a:ext cx="0" cy="172220"/>
            </a:xfrm>
            <a:prstGeom prst="straightConnector1">
              <a:avLst/>
            </a:prstGeom>
            <a:ln w="12700" cap="sq">
              <a:solidFill>
                <a:schemeClr val="bg1"/>
              </a:solidFill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D06B23B5-36F0-51D7-DB11-08274642AE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499134" y="1213972"/>
              <a:ext cx="1430751" cy="436841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144000" tIns="10800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 Type Pro Text"/>
                <a:ea typeface="+mn-ea"/>
                <a:cs typeface="+mn-cs"/>
              </a:endParaRPr>
            </a:p>
          </p:txBody>
        </p:sp>
      </p:grpSp>
      <p:sp>
        <p:nvSpPr>
          <p:cNvPr id="18" name="Title 11">
            <a:extLst>
              <a:ext uri="{FF2B5EF4-FFF2-40B4-BE49-F238E27FC236}">
                <a16:creationId xmlns:a16="http://schemas.microsoft.com/office/drawing/2014/main" id="{6A3FAF21-2F5E-C53A-8D07-B5C62A4A76AE}"/>
              </a:ext>
            </a:extLst>
          </p:cNvPr>
          <p:cNvSpPr txBox="1">
            <a:spLocks/>
          </p:cNvSpPr>
          <p:nvPr/>
        </p:nvSpPr>
        <p:spPr>
          <a:xfrm>
            <a:off x="8274017" y="1070749"/>
            <a:ext cx="1325600" cy="2769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spc="-100" baseline="0">
                <a:gradFill flip="none" rotWithShape="1">
                  <a:gsLst>
                    <a:gs pos="0">
                      <a:schemeClr val="accent2"/>
                    </a:gs>
                    <a:gs pos="7500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>
                <a:solidFill>
                  <a:schemeClr val="tx1"/>
                </a:solidFill>
              </a:rPr>
              <a:t>$25 billion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F62CD4-EADC-79BE-17D0-4D02E0457956}"/>
              </a:ext>
            </a:extLst>
          </p:cNvPr>
          <p:cNvGrpSpPr/>
          <p:nvPr/>
        </p:nvGrpSpPr>
        <p:grpSpPr>
          <a:xfrm>
            <a:off x="7926304" y="1073517"/>
            <a:ext cx="271462" cy="271462"/>
            <a:chOff x="4305215" y="4284068"/>
            <a:chExt cx="271462" cy="271462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07C0AD8-6621-6E63-2BAD-B1934BEA9AD8}"/>
                </a:ext>
              </a:extLst>
            </p:cNvPr>
            <p:cNvSpPr/>
            <p:nvPr/>
          </p:nvSpPr>
          <p:spPr>
            <a:xfrm rot="10800000">
              <a:off x="4305215" y="4284068"/>
              <a:ext cx="271462" cy="271462"/>
            </a:xfrm>
            <a:prstGeom prst="ellipse">
              <a:avLst/>
            </a:prstGeom>
            <a:gradFill flip="none" rotWithShape="1">
              <a:gsLst>
                <a:gs pos="100000">
                  <a:schemeClr val="accent2"/>
                </a:gs>
                <a:gs pos="0">
                  <a:schemeClr val="accent3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r"/>
              <a:endParaRPr lang="en-AU" sz="1400" b="1" spc="-50" err="1">
                <a:solidFill>
                  <a:schemeClr val="tx1"/>
                </a:solidFill>
                <a:latin typeface="AP Type Text"/>
              </a:endParaRPr>
            </a:p>
          </p:txBody>
        </p: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4F1627E0-C7DA-F14C-1451-F32A57D8ECCE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4440946" y="4336723"/>
              <a:ext cx="0" cy="151867"/>
            </a:xfrm>
            <a:prstGeom prst="straightConnector1">
              <a:avLst/>
            </a:prstGeom>
            <a:ln w="19050" cap="rnd">
              <a:solidFill>
                <a:schemeClr val="bg1"/>
              </a:solidFill>
              <a:round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21182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/>
      <p:bldP spid="69" grpId="0"/>
      <p:bldP spid="97" grpId="0"/>
      <p:bldP spid="98" grpId="0"/>
      <p:bldP spid="102" grpId="0"/>
      <p:bldP spid="103" grpId="0"/>
      <p:bldP spid="109" grpId="0"/>
      <p:bldP spid="112" grpId="0"/>
      <p:bldP spid="118" grpId="0" animBg="1"/>
      <p:bldP spid="1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white circle with black border&#10;&#10;AI-generated content may be incorrect.">
            <a:extLst>
              <a:ext uri="{FF2B5EF4-FFF2-40B4-BE49-F238E27FC236}">
                <a16:creationId xmlns:a16="http://schemas.microsoft.com/office/drawing/2014/main" id="{D17CB08C-FBF9-8ACD-0858-768FFB4FF74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11415" t="11701" r="2428"/>
          <a:stretch/>
        </p:blipFill>
        <p:spPr>
          <a:xfrm>
            <a:off x="429768" y="1400277"/>
            <a:ext cx="11117615" cy="4698772"/>
          </a:xfrm>
          <a:prstGeom prst="roundRect">
            <a:avLst>
              <a:gd name="adj" fmla="val 2793"/>
            </a:avLst>
          </a:prstGeom>
          <a:solidFill>
            <a:schemeClr val="bg1"/>
          </a:solidFill>
          <a:effectLst>
            <a:innerShdw blurRad="63500">
              <a:schemeClr val="bg2"/>
            </a:innerShdw>
          </a:effectLst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94CD86-7604-7581-0BE1-83221DF5FE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5550" y="6419850"/>
            <a:ext cx="1800000" cy="238126"/>
          </a:xfrm>
        </p:spPr>
        <p:txBody>
          <a:bodyPr/>
          <a:lstStyle/>
          <a:p>
            <a:pPr lvl="0"/>
            <a:r>
              <a:rPr lang="en-AU" noProof="0"/>
              <a:t>© 2025 Australia Po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5A36E-9A90-A064-DB80-26EB47DA7A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6000" y="6419850"/>
            <a:ext cx="216000" cy="238126"/>
          </a:xfrm>
        </p:spPr>
        <p:txBody>
          <a:bodyPr/>
          <a:lstStyle/>
          <a:p>
            <a:pPr lvl="0"/>
            <a:fld id="{7870704B-CE94-48CC-AF30-84932A1262A7}" type="slidenum">
              <a:rPr lang="en-GB" noProof="0" smtClean="0"/>
              <a:pPr lvl="0"/>
              <a:t>3</a:t>
            </a:fld>
            <a:endParaRPr lang="en-GB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175630-D567-0C80-B4B5-229106773FFD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8248650" y="6326981"/>
            <a:ext cx="3607349" cy="280988"/>
          </a:xfrm>
        </p:spPr>
        <p:txBody>
          <a:bodyPr/>
          <a:lstStyle/>
          <a:p>
            <a:r>
              <a:rPr lang="en-US"/>
              <a:t>Source: CommBank </a:t>
            </a:r>
            <a:r>
              <a:rPr lang="en-US" err="1"/>
              <a:t>iQ</a:t>
            </a:r>
            <a:endParaRPr lang="en-AU"/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2" name="Chart 11">
                <a:extLst>
                  <a:ext uri="{FF2B5EF4-FFF2-40B4-BE49-F238E27FC236}">
                    <a16:creationId xmlns:a16="http://schemas.microsoft.com/office/drawing/2014/main" id="{E932F75C-E080-0DE5-8A27-04E0D7568DB0}"/>
                  </a:ext>
                </a:extLst>
              </p:cNvPr>
              <p:cNvGraphicFramePr/>
              <p:nvPr/>
            </p:nvGraphicFramePr>
            <p:xfrm>
              <a:off x="568458" y="1458675"/>
              <a:ext cx="11044719" cy="3940649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12" name="Chart 11">
                <a:extLst>
                  <a:ext uri="{FF2B5EF4-FFF2-40B4-BE49-F238E27FC236}">
                    <a16:creationId xmlns:a16="http://schemas.microsoft.com/office/drawing/2014/main" id="{E932F75C-E080-0DE5-8A27-04E0D7568DB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68458" y="1458675"/>
                <a:ext cx="11044719" cy="3940649"/>
              </a:xfrm>
              <a:prstGeom prst="rect">
                <a:avLst/>
              </a:prstGeom>
            </p:spPr>
          </p:pic>
        </mc:Fallback>
      </mc:AlternateContent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CCECD81C-22D4-D0E0-3CBF-CB89360EDEF0}"/>
              </a:ext>
            </a:extLst>
          </p:cNvPr>
          <p:cNvSpPr/>
          <p:nvPr/>
        </p:nvSpPr>
        <p:spPr>
          <a:xfrm flipH="1">
            <a:off x="1303344" y="4577876"/>
            <a:ext cx="2780975" cy="591127"/>
          </a:xfrm>
          <a:prstGeom prst="roundRect">
            <a:avLst>
              <a:gd name="adj" fmla="val 10742"/>
            </a:avLst>
          </a:prstGeom>
          <a:gradFill flip="none" rotWithShape="1">
            <a:gsLst>
              <a:gs pos="0">
                <a:srgbClr val="FF51A2"/>
              </a:gs>
              <a:gs pos="100000">
                <a:srgbClr val="FEDCEC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24000" tIns="72000" rIns="144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Z" sz="1200" b="0" i="0" u="none" strike="noStrike" kern="1200" cap="none" spc="-20" normalizeH="0" baseline="0" noProof="0">
                <a:ln>
                  <a:noFill/>
                </a:ln>
                <a:solidFill>
                  <a:srgbClr val="212129"/>
                </a:solidFill>
                <a:effectLst/>
                <a:uLnTx/>
                <a:uFillTx/>
                <a:latin typeface="AP Type Text"/>
                <a:ea typeface="+mn-ea"/>
                <a:cs typeface="+mn-cs"/>
              </a:rPr>
              <a:t>Online Marketplaces drove 39% </a:t>
            </a:r>
            <a:br>
              <a:rPr kumimoji="0" lang="en-NZ" sz="1200" b="0" i="0" u="none" strike="noStrike" kern="1200" cap="none" spc="-20" normalizeH="0" baseline="0" noProof="0">
                <a:ln>
                  <a:noFill/>
                </a:ln>
                <a:solidFill>
                  <a:srgbClr val="212129"/>
                </a:solidFill>
                <a:effectLst/>
                <a:uLnTx/>
                <a:uFillTx/>
                <a:latin typeface="AP Type Text"/>
                <a:ea typeface="+mn-ea"/>
                <a:cs typeface="+mn-cs"/>
              </a:rPr>
            </a:br>
            <a:r>
              <a:rPr kumimoji="0" lang="en-NZ" sz="1200" b="0" i="0" u="none" strike="noStrike" kern="1200" cap="none" spc="-20" normalizeH="0" baseline="0" noProof="0">
                <a:ln>
                  <a:noFill/>
                </a:ln>
                <a:solidFill>
                  <a:srgbClr val="212129"/>
                </a:solidFill>
                <a:effectLst/>
                <a:uLnTx/>
                <a:uFillTx/>
                <a:latin typeface="AP Type Text"/>
                <a:ea typeface="+mn-ea"/>
                <a:cs typeface="+mn-cs"/>
              </a:rPr>
              <a:t>of all online spend growth in 2024</a:t>
            </a:r>
          </a:p>
        </p:txBody>
      </p:sp>
      <p:graphicFrame>
        <p:nvGraphicFramePr>
          <p:cNvPr id="34" name="Table 33">
            <a:extLst>
              <a:ext uri="{FF2B5EF4-FFF2-40B4-BE49-F238E27FC236}">
                <a16:creationId xmlns:a16="http://schemas.microsoft.com/office/drawing/2014/main" id="{082854AE-83BA-30AD-2043-945BF820CEF3}"/>
              </a:ext>
            </a:extLst>
          </p:cNvPr>
          <p:cNvGraphicFramePr>
            <a:graphicFrameLocks noGrp="1"/>
          </p:cNvGraphicFramePr>
          <p:nvPr/>
        </p:nvGraphicFramePr>
        <p:xfrm>
          <a:off x="634252" y="5202497"/>
          <a:ext cx="10913130" cy="81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1313">
                  <a:extLst>
                    <a:ext uri="{9D8B030D-6E8A-4147-A177-3AD203B41FA5}">
                      <a16:colId xmlns:a16="http://schemas.microsoft.com/office/drawing/2014/main" val="2510236752"/>
                    </a:ext>
                  </a:extLst>
                </a:gridCol>
                <a:gridCol w="1091313">
                  <a:extLst>
                    <a:ext uri="{9D8B030D-6E8A-4147-A177-3AD203B41FA5}">
                      <a16:colId xmlns:a16="http://schemas.microsoft.com/office/drawing/2014/main" val="827847710"/>
                    </a:ext>
                  </a:extLst>
                </a:gridCol>
                <a:gridCol w="1091313">
                  <a:extLst>
                    <a:ext uri="{9D8B030D-6E8A-4147-A177-3AD203B41FA5}">
                      <a16:colId xmlns:a16="http://schemas.microsoft.com/office/drawing/2014/main" val="4127139956"/>
                    </a:ext>
                  </a:extLst>
                </a:gridCol>
                <a:gridCol w="1091313">
                  <a:extLst>
                    <a:ext uri="{9D8B030D-6E8A-4147-A177-3AD203B41FA5}">
                      <a16:colId xmlns:a16="http://schemas.microsoft.com/office/drawing/2014/main" val="31644302"/>
                    </a:ext>
                  </a:extLst>
                </a:gridCol>
                <a:gridCol w="1091313">
                  <a:extLst>
                    <a:ext uri="{9D8B030D-6E8A-4147-A177-3AD203B41FA5}">
                      <a16:colId xmlns:a16="http://schemas.microsoft.com/office/drawing/2014/main" val="2596906847"/>
                    </a:ext>
                  </a:extLst>
                </a:gridCol>
                <a:gridCol w="1091313">
                  <a:extLst>
                    <a:ext uri="{9D8B030D-6E8A-4147-A177-3AD203B41FA5}">
                      <a16:colId xmlns:a16="http://schemas.microsoft.com/office/drawing/2014/main" val="1370011389"/>
                    </a:ext>
                  </a:extLst>
                </a:gridCol>
                <a:gridCol w="1091313">
                  <a:extLst>
                    <a:ext uri="{9D8B030D-6E8A-4147-A177-3AD203B41FA5}">
                      <a16:colId xmlns:a16="http://schemas.microsoft.com/office/drawing/2014/main" val="2840305304"/>
                    </a:ext>
                  </a:extLst>
                </a:gridCol>
                <a:gridCol w="1091313">
                  <a:extLst>
                    <a:ext uri="{9D8B030D-6E8A-4147-A177-3AD203B41FA5}">
                      <a16:colId xmlns:a16="http://schemas.microsoft.com/office/drawing/2014/main" val="863365923"/>
                    </a:ext>
                  </a:extLst>
                </a:gridCol>
                <a:gridCol w="1091313">
                  <a:extLst>
                    <a:ext uri="{9D8B030D-6E8A-4147-A177-3AD203B41FA5}">
                      <a16:colId xmlns:a16="http://schemas.microsoft.com/office/drawing/2014/main" val="3659930813"/>
                    </a:ext>
                  </a:extLst>
                </a:gridCol>
                <a:gridCol w="1091313">
                  <a:extLst>
                    <a:ext uri="{9D8B030D-6E8A-4147-A177-3AD203B41FA5}">
                      <a16:colId xmlns:a16="http://schemas.microsoft.com/office/drawing/2014/main" val="1926478775"/>
                    </a:ext>
                  </a:extLst>
                </a:gridCol>
              </a:tblGrid>
              <a:tr h="792000">
                <a:tc>
                  <a:txBody>
                    <a:bodyPr/>
                    <a:lstStyle/>
                    <a:p>
                      <a:pPr algn="ctr"/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nline Marketplaces</a:t>
                      </a:r>
                    </a:p>
                  </a:txBody>
                  <a:tcPr marL="0" marR="0" marT="252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ood &amp; </a:t>
                      </a:r>
                      <a:b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Liquor</a:t>
                      </a:r>
                    </a:p>
                  </a:txBody>
                  <a:tcPr marL="0" marR="0" marT="252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ashion</a:t>
                      </a:r>
                    </a:p>
                  </a:txBody>
                  <a:tcPr marL="0" marR="0" marT="252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Home &amp; </a:t>
                      </a:r>
                      <a:b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Garden</a:t>
                      </a:r>
                    </a:p>
                  </a:txBody>
                  <a:tcPr marL="0" marR="0" marT="252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sumer Electronics</a:t>
                      </a:r>
                    </a:p>
                  </a:txBody>
                  <a:tcPr marL="0" marR="0" marT="252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Hobbies &amp; Recreational Goods</a:t>
                      </a:r>
                    </a:p>
                  </a:txBody>
                  <a:tcPr marL="0" marR="0" marT="252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partment Stores</a:t>
                      </a:r>
                    </a:p>
                  </a:txBody>
                  <a:tcPr marL="0" marR="0" marT="252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Health &amp; </a:t>
                      </a:r>
                      <a:b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eauty</a:t>
                      </a:r>
                    </a:p>
                  </a:txBody>
                  <a:tcPr marL="0" marR="0" marT="252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ooks, </a:t>
                      </a:r>
                      <a:b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tationery &amp; Multimedia</a:t>
                      </a:r>
                    </a:p>
                  </a:txBody>
                  <a:tcPr marL="0" marR="0" marT="252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AU" sz="1600" b="1" i="0" u="none" strike="noStrike" kern="1200" cap="none" spc="0" normalizeH="0" baseline="0">
                          <a:ln>
                            <a:noFill/>
                          </a:ln>
                          <a:gradFill flip="none" rotWithShape="1">
                            <a:gsLst>
                              <a:gs pos="0">
                                <a:schemeClr val="accent3"/>
                              </a:gs>
                              <a:gs pos="90000">
                                <a:schemeClr val="accent2"/>
                              </a:gs>
                            </a:gsLst>
                            <a:lin ang="5400000" scaled="1"/>
                            <a:tileRect/>
                          </a:gra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0" marR="0" marT="252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5169789"/>
                  </a:ext>
                </a:extLst>
              </a:tr>
            </a:tbl>
          </a:graphicData>
        </a:graphic>
      </p:graphicFrame>
      <p:sp>
        <p:nvSpPr>
          <p:cNvPr id="37" name="Title 6">
            <a:extLst>
              <a:ext uri="{FF2B5EF4-FFF2-40B4-BE49-F238E27FC236}">
                <a16:creationId xmlns:a16="http://schemas.microsoft.com/office/drawing/2014/main" id="{F0C32814-30E8-4E0F-A9BE-F5108AB1FAF6}"/>
              </a:ext>
            </a:extLst>
          </p:cNvPr>
          <p:cNvSpPr txBox="1">
            <a:spLocks/>
          </p:cNvSpPr>
          <p:nvPr/>
        </p:nvSpPr>
        <p:spPr>
          <a:xfrm>
            <a:off x="563274" y="1400277"/>
            <a:ext cx="4019000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GB" sz="2500" b="0" kern="1200" spc="-60" baseline="0">
                <a:solidFill>
                  <a:schemeClr val="tx1"/>
                </a:solidFill>
                <a:latin typeface="+mj-lt"/>
                <a:ea typeface="AP Type Text" panose="02000000000000000000" pitchFamily="2" charset="0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40" b="0" i="0" u="none" strike="noStrike" kern="1200" spc="0" baseline="0">
                <a:solidFill>
                  <a:srgbClr val="212129"/>
                </a:solidFill>
                <a:latin typeface="+mn-lt"/>
                <a:ea typeface="+mn-ea"/>
                <a:cs typeface="+mn-cs"/>
              </a:defRPr>
            </a:pPr>
            <a:r>
              <a:rPr kumimoji="0" lang="en-US" sz="1400" b="1" i="0" u="none" strike="noStrike" kern="1200" cap="none" spc="-50" normalizeH="0" baseline="0" noProof="0">
                <a:ln>
                  <a:noFill/>
                </a:ln>
                <a:solidFill>
                  <a:srgbClr val="212129"/>
                </a:solidFill>
                <a:effectLst/>
                <a:uLnTx/>
                <a:uFillTx/>
                <a:latin typeface="AP Type Text"/>
                <a:ea typeface="+mn-ea"/>
                <a:cs typeface="+mj-cs"/>
              </a:rPr>
              <a:t>Online spend growth contribution by categor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40" b="0" i="0" u="none" strike="noStrike" kern="1200" spc="0" baseline="0">
                <a:solidFill>
                  <a:srgbClr val="212129"/>
                </a:solidFill>
                <a:latin typeface="+mn-lt"/>
                <a:ea typeface="+mn-ea"/>
                <a:cs typeface="+mn-cs"/>
              </a:defRPr>
            </a:pPr>
            <a:r>
              <a:rPr kumimoji="0" lang="en-US" sz="1400" b="0" i="0" u="none" strike="noStrike" kern="1200" cap="none" spc="-50" normalizeH="0" baseline="0" noProof="0">
                <a:ln>
                  <a:noFill/>
                </a:ln>
                <a:solidFill>
                  <a:srgbClr val="212129"/>
                </a:solidFill>
                <a:effectLst/>
                <a:uLnTx/>
                <a:uFillTx/>
                <a:latin typeface="AP Type Text"/>
                <a:ea typeface="+mn-ea"/>
                <a:cs typeface="+mj-cs"/>
              </a:rPr>
              <a:t>(YoY %)</a:t>
            </a:r>
          </a:p>
        </p:txBody>
      </p:sp>
      <p:sp>
        <p:nvSpPr>
          <p:cNvPr id="13" name="Title 11">
            <a:extLst>
              <a:ext uri="{FF2B5EF4-FFF2-40B4-BE49-F238E27FC236}">
                <a16:creationId xmlns:a16="http://schemas.microsoft.com/office/drawing/2014/main" id="{CB3CEEA6-919A-3E36-7C1F-7E7046CCD884}"/>
              </a:ext>
            </a:extLst>
          </p:cNvPr>
          <p:cNvSpPr txBox="1">
            <a:spLocks/>
          </p:cNvSpPr>
          <p:nvPr/>
        </p:nvSpPr>
        <p:spPr>
          <a:xfrm>
            <a:off x="336000" y="269081"/>
            <a:ext cx="9542613" cy="8863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spc="-100" baseline="0">
                <a:gradFill flip="none" rotWithShape="1">
                  <a:gsLst>
                    <a:gs pos="0">
                      <a:schemeClr val="accent2"/>
                    </a:gs>
                    <a:gs pos="7500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200" b="1" i="0" u="none" strike="noStrike" kern="1200" cap="none" spc="-100" normalizeH="0" baseline="0" noProof="0">
                <a:ln>
                  <a:noFill/>
                </a:ln>
                <a:gradFill flip="none" rotWithShape="1">
                  <a:gsLst>
                    <a:gs pos="0">
                      <a:srgbClr val="DC1928"/>
                    </a:gs>
                    <a:gs pos="75000">
                      <a:srgbClr val="DC1928"/>
                    </a:gs>
                    <a:gs pos="100000">
                      <a:srgbClr val="F51482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AP Type Text"/>
                <a:ea typeface="+mj-ea"/>
                <a:cs typeface="+mj-cs"/>
              </a:rPr>
              <a:t>Nearly 40% of online spend growth was driven </a:t>
            </a:r>
            <a:br>
              <a:rPr kumimoji="0" lang="en-AU" sz="3200" b="1" i="0" u="none" strike="noStrike" kern="1200" cap="none" spc="-100" normalizeH="0" baseline="0" noProof="0">
                <a:ln>
                  <a:noFill/>
                </a:ln>
                <a:gradFill flip="none" rotWithShape="1">
                  <a:gsLst>
                    <a:gs pos="0">
                      <a:srgbClr val="DC1928"/>
                    </a:gs>
                    <a:gs pos="75000">
                      <a:srgbClr val="DC1928"/>
                    </a:gs>
                    <a:gs pos="100000">
                      <a:srgbClr val="F51482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AP Type Text"/>
                <a:ea typeface="+mj-ea"/>
                <a:cs typeface="+mj-cs"/>
              </a:rPr>
            </a:br>
            <a:r>
              <a:rPr kumimoji="0" lang="en-AU" sz="3200" b="1" i="0" u="none" strike="noStrike" kern="1200" cap="none" spc="-100" normalizeH="0" baseline="0" noProof="0">
                <a:ln>
                  <a:noFill/>
                </a:ln>
                <a:gradFill flip="none" rotWithShape="1">
                  <a:gsLst>
                    <a:gs pos="0">
                      <a:srgbClr val="DC1928"/>
                    </a:gs>
                    <a:gs pos="75000">
                      <a:srgbClr val="DC1928"/>
                    </a:gs>
                    <a:gs pos="100000">
                      <a:srgbClr val="F51482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AP Type Text"/>
                <a:ea typeface="+mj-ea"/>
                <a:cs typeface="+mj-cs"/>
              </a:rPr>
              <a:t>by Online Marketplaces </a:t>
            </a:r>
          </a:p>
        </p:txBody>
      </p:sp>
    </p:spTree>
    <p:extLst>
      <p:ext uri="{BB962C8B-B14F-4D97-AF65-F5344CB8AC3E}">
        <p14:creationId xmlns:p14="http://schemas.microsoft.com/office/powerpoint/2010/main" val="40419841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0D0A32-0674-8BDF-190E-A26E692ED9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33D5BB-F831-4B00-4C2C-F680B781C672}"/>
              </a:ext>
            </a:extLst>
          </p:cNvPr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r>
              <a:rPr lang="en-AU"/>
              <a:t>Source: CommBank </a:t>
            </a:r>
            <a:r>
              <a:rPr lang="en-AU" err="1"/>
              <a:t>iQ</a:t>
            </a:r>
            <a:endParaRPr lang="en-AU"/>
          </a:p>
        </p:txBody>
      </p:sp>
      <p:sp>
        <p:nvSpPr>
          <p:cNvPr id="6" name="Title 11">
            <a:extLst>
              <a:ext uri="{FF2B5EF4-FFF2-40B4-BE49-F238E27FC236}">
                <a16:creationId xmlns:a16="http://schemas.microsoft.com/office/drawing/2014/main" id="{C4C5610D-7479-87F5-C235-04D58D3761D5}"/>
              </a:ext>
            </a:extLst>
          </p:cNvPr>
          <p:cNvSpPr txBox="1">
            <a:spLocks/>
          </p:cNvSpPr>
          <p:nvPr/>
        </p:nvSpPr>
        <p:spPr>
          <a:xfrm>
            <a:off x="301967" y="269081"/>
            <a:ext cx="10269186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spc="-100" baseline="0">
                <a:gradFill flip="none" rotWithShape="1">
                  <a:gsLst>
                    <a:gs pos="0">
                      <a:schemeClr val="accent2"/>
                    </a:gs>
                    <a:gs pos="7500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-100" normalizeH="0" baseline="0" noProof="0">
                <a:ln>
                  <a:noFill/>
                </a:ln>
                <a:gradFill flip="none">
                  <a:gsLst>
                    <a:gs pos="0">
                      <a:srgbClr val="DC1928"/>
                    </a:gs>
                    <a:gs pos="75000">
                      <a:srgbClr val="DC1928"/>
                    </a:gs>
                    <a:gs pos="100000">
                      <a:srgbClr val="F51482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AP Type Text"/>
                <a:ea typeface="+mj-ea"/>
                <a:cs typeface="+mj-cs"/>
              </a:rPr>
              <a:t>Online Marketplaces led eCommerce growth in 2024</a:t>
            </a:r>
            <a:endParaRPr kumimoji="0" lang="en-AU" sz="3200" b="0" i="0" u="none" strike="noStrike" kern="1200" cap="none" spc="-100" normalizeH="0" baseline="0" noProof="0">
              <a:ln>
                <a:noFill/>
              </a:ln>
              <a:gradFill flip="none">
                <a:gsLst>
                  <a:gs pos="0">
                    <a:srgbClr val="DC1928"/>
                  </a:gs>
                  <a:gs pos="75000">
                    <a:srgbClr val="DC1928"/>
                  </a:gs>
                  <a:gs pos="100000">
                    <a:srgbClr val="F51482"/>
                  </a:gs>
                </a:gsLst>
                <a:lin ang="0" scaled="1"/>
                <a:tileRect/>
              </a:gradFill>
              <a:effectLst/>
              <a:uLnTx/>
              <a:uFillTx/>
              <a:latin typeface="AP Type Text"/>
              <a:ea typeface="+mj-ea"/>
              <a:cs typeface="+mj-cs"/>
            </a:endParaRPr>
          </a:p>
        </p:txBody>
      </p:sp>
      <p:pic>
        <p:nvPicPr>
          <p:cNvPr id="13" name="Picture 12" descr="A white circle with black border&#10;&#10;AI-generated content may be incorrect.">
            <a:extLst>
              <a:ext uri="{FF2B5EF4-FFF2-40B4-BE49-F238E27FC236}">
                <a16:creationId xmlns:a16="http://schemas.microsoft.com/office/drawing/2014/main" id="{72383A15-630A-AE51-67A7-6D5AC7AFB31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11415" t="11701" r="2428"/>
          <a:stretch/>
        </p:blipFill>
        <p:spPr>
          <a:xfrm>
            <a:off x="301967" y="1216667"/>
            <a:ext cx="11530177" cy="4933789"/>
          </a:xfrm>
          <a:prstGeom prst="roundRect">
            <a:avLst>
              <a:gd name="adj" fmla="val 2793"/>
            </a:avLst>
          </a:prstGeom>
          <a:solidFill>
            <a:schemeClr val="bg1"/>
          </a:solidFill>
          <a:effectLst>
            <a:innerShdw blurRad="63500">
              <a:schemeClr val="bg2"/>
            </a:innerShdw>
          </a:effectLst>
        </p:spPr>
      </p:pic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9E550233-0E4E-CBE5-9A50-56FB0C036537}"/>
              </a:ext>
            </a:extLst>
          </p:cNvPr>
          <p:cNvGraphicFramePr>
            <a:graphicFrameLocks noGrp="1"/>
          </p:cNvGraphicFramePr>
          <p:nvPr/>
        </p:nvGraphicFramePr>
        <p:xfrm>
          <a:off x="563274" y="5225122"/>
          <a:ext cx="11125680" cy="81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2568">
                  <a:extLst>
                    <a:ext uri="{9D8B030D-6E8A-4147-A177-3AD203B41FA5}">
                      <a16:colId xmlns:a16="http://schemas.microsoft.com/office/drawing/2014/main" val="585098591"/>
                    </a:ext>
                  </a:extLst>
                </a:gridCol>
                <a:gridCol w="1112568">
                  <a:extLst>
                    <a:ext uri="{9D8B030D-6E8A-4147-A177-3AD203B41FA5}">
                      <a16:colId xmlns:a16="http://schemas.microsoft.com/office/drawing/2014/main" val="2510236752"/>
                    </a:ext>
                  </a:extLst>
                </a:gridCol>
                <a:gridCol w="1112568">
                  <a:extLst>
                    <a:ext uri="{9D8B030D-6E8A-4147-A177-3AD203B41FA5}">
                      <a16:colId xmlns:a16="http://schemas.microsoft.com/office/drawing/2014/main" val="827847710"/>
                    </a:ext>
                  </a:extLst>
                </a:gridCol>
                <a:gridCol w="1112568">
                  <a:extLst>
                    <a:ext uri="{9D8B030D-6E8A-4147-A177-3AD203B41FA5}">
                      <a16:colId xmlns:a16="http://schemas.microsoft.com/office/drawing/2014/main" val="4127139956"/>
                    </a:ext>
                  </a:extLst>
                </a:gridCol>
                <a:gridCol w="1112568">
                  <a:extLst>
                    <a:ext uri="{9D8B030D-6E8A-4147-A177-3AD203B41FA5}">
                      <a16:colId xmlns:a16="http://schemas.microsoft.com/office/drawing/2014/main" val="31644302"/>
                    </a:ext>
                  </a:extLst>
                </a:gridCol>
                <a:gridCol w="1112568">
                  <a:extLst>
                    <a:ext uri="{9D8B030D-6E8A-4147-A177-3AD203B41FA5}">
                      <a16:colId xmlns:a16="http://schemas.microsoft.com/office/drawing/2014/main" val="2596906847"/>
                    </a:ext>
                  </a:extLst>
                </a:gridCol>
                <a:gridCol w="1112568">
                  <a:extLst>
                    <a:ext uri="{9D8B030D-6E8A-4147-A177-3AD203B41FA5}">
                      <a16:colId xmlns:a16="http://schemas.microsoft.com/office/drawing/2014/main" val="1370011389"/>
                    </a:ext>
                  </a:extLst>
                </a:gridCol>
                <a:gridCol w="1112568">
                  <a:extLst>
                    <a:ext uri="{9D8B030D-6E8A-4147-A177-3AD203B41FA5}">
                      <a16:colId xmlns:a16="http://schemas.microsoft.com/office/drawing/2014/main" val="2840305304"/>
                    </a:ext>
                  </a:extLst>
                </a:gridCol>
                <a:gridCol w="1112568">
                  <a:extLst>
                    <a:ext uri="{9D8B030D-6E8A-4147-A177-3AD203B41FA5}">
                      <a16:colId xmlns:a16="http://schemas.microsoft.com/office/drawing/2014/main" val="863365923"/>
                    </a:ext>
                  </a:extLst>
                </a:gridCol>
                <a:gridCol w="1112568">
                  <a:extLst>
                    <a:ext uri="{9D8B030D-6E8A-4147-A177-3AD203B41FA5}">
                      <a16:colId xmlns:a16="http://schemas.microsoft.com/office/drawing/2014/main" val="3659930813"/>
                    </a:ext>
                  </a:extLst>
                </a:gridCol>
              </a:tblGrid>
              <a:tr h="792000">
                <a:tc>
                  <a:txBody>
                    <a:bodyPr/>
                    <a:lstStyle/>
                    <a:p>
                      <a:pPr algn="l"/>
                      <a:endParaRPr lang="en-AU" sz="1000" b="1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252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nline Marketplaces</a:t>
                      </a:r>
                    </a:p>
                  </a:txBody>
                  <a:tcPr marL="0" marR="0" marT="252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ood &amp; </a:t>
                      </a:r>
                      <a:b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Liquor</a:t>
                      </a:r>
                    </a:p>
                  </a:txBody>
                  <a:tcPr marL="0" marR="0" marT="252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ashion</a:t>
                      </a:r>
                    </a:p>
                  </a:txBody>
                  <a:tcPr marL="0" marR="0" marT="252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Home &amp; </a:t>
                      </a:r>
                      <a:b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Garden</a:t>
                      </a:r>
                    </a:p>
                  </a:txBody>
                  <a:tcPr marL="0" marR="0" marT="252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sumer Electronics</a:t>
                      </a:r>
                    </a:p>
                  </a:txBody>
                  <a:tcPr marL="0" marR="0" marT="252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Hobbies &amp; Recreational Goods</a:t>
                      </a:r>
                    </a:p>
                  </a:txBody>
                  <a:tcPr marL="0" marR="0" marT="252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partment Stores</a:t>
                      </a:r>
                    </a:p>
                  </a:txBody>
                  <a:tcPr marL="0" marR="0" marT="252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Health &amp; </a:t>
                      </a:r>
                      <a:b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eauty</a:t>
                      </a:r>
                    </a:p>
                  </a:txBody>
                  <a:tcPr marL="0" marR="0" marT="252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ooks, </a:t>
                      </a:r>
                      <a:b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AU" sz="1000" b="1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tationery &amp; Multimedia</a:t>
                      </a:r>
                    </a:p>
                  </a:txBody>
                  <a:tcPr marL="0" marR="0" marT="252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5169789"/>
                  </a:ext>
                </a:extLst>
              </a:tr>
            </a:tbl>
          </a:graphicData>
        </a:graphic>
      </p:graphicFrame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D800E905-DBEC-09CE-58AE-0CF366A1E489}"/>
              </a:ext>
            </a:extLst>
          </p:cNvPr>
          <p:cNvGraphicFramePr/>
          <p:nvPr/>
        </p:nvGraphicFramePr>
        <p:xfrm>
          <a:off x="1687285" y="2361362"/>
          <a:ext cx="10021239" cy="30472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Title 6">
            <a:extLst>
              <a:ext uri="{FF2B5EF4-FFF2-40B4-BE49-F238E27FC236}">
                <a16:creationId xmlns:a16="http://schemas.microsoft.com/office/drawing/2014/main" id="{D13E48B2-585C-74CA-44F3-0CF5245F1086}"/>
              </a:ext>
            </a:extLst>
          </p:cNvPr>
          <p:cNvSpPr txBox="1">
            <a:spLocks/>
          </p:cNvSpPr>
          <p:nvPr/>
        </p:nvSpPr>
        <p:spPr>
          <a:xfrm>
            <a:off x="435429" y="1839845"/>
            <a:ext cx="1083051" cy="1569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GB" sz="2500" b="0" kern="1200" spc="-60" baseline="0">
                <a:solidFill>
                  <a:schemeClr val="tx1"/>
                </a:solidFill>
                <a:latin typeface="+mj-lt"/>
                <a:ea typeface="AP Type Text" panose="02000000000000000000" pitchFamily="2" charset="0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200" b="1">
                <a:solidFill>
                  <a:srgbClr val="000000"/>
                </a:solidFill>
                <a:latin typeface="AP Type Text"/>
                <a:ea typeface="AP Type Text"/>
              </a:rPr>
              <a:t>Online spend </a:t>
            </a:r>
            <a:endParaRPr kumimoji="0" lang="en-AU" sz="1200" b="1" i="0" u="none" strike="noStrike" kern="1200" cap="none" spc="-6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 Type Text"/>
              <a:ea typeface="AP Type Text"/>
              <a:cs typeface="+mj-cs"/>
            </a:endParaRPr>
          </a:p>
        </p:txBody>
      </p:sp>
      <p:sp>
        <p:nvSpPr>
          <p:cNvPr id="19" name="Title 6">
            <a:extLst>
              <a:ext uri="{FF2B5EF4-FFF2-40B4-BE49-F238E27FC236}">
                <a16:creationId xmlns:a16="http://schemas.microsoft.com/office/drawing/2014/main" id="{0C201DFD-5383-B501-4299-6D5A0F38434E}"/>
              </a:ext>
            </a:extLst>
          </p:cNvPr>
          <p:cNvSpPr txBox="1">
            <a:spLocks/>
          </p:cNvSpPr>
          <p:nvPr/>
        </p:nvSpPr>
        <p:spPr>
          <a:xfrm>
            <a:off x="435429" y="2711540"/>
            <a:ext cx="1083051" cy="1569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GB" sz="2500" b="0" kern="1200" spc="-60" baseline="0">
                <a:solidFill>
                  <a:schemeClr val="tx1"/>
                </a:solidFill>
                <a:latin typeface="+mj-lt"/>
                <a:ea typeface="AP Type Text" panose="02000000000000000000" pitchFamily="2" charset="0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-6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 Type Text"/>
                <a:ea typeface="AP Type Text"/>
                <a:cs typeface="+mj-cs"/>
              </a:rPr>
              <a:t>Growth YoY</a:t>
            </a:r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FAF60021-EAB6-E11B-FBE6-0C4AB5ADFEC8}"/>
              </a:ext>
            </a:extLst>
          </p:cNvPr>
          <p:cNvGraphicFramePr/>
          <p:nvPr/>
        </p:nvGraphicFramePr>
        <p:xfrm>
          <a:off x="2793099" y="1352550"/>
          <a:ext cx="1110410" cy="1110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7" name="Title 6">
            <a:extLst>
              <a:ext uri="{FF2B5EF4-FFF2-40B4-BE49-F238E27FC236}">
                <a16:creationId xmlns:a16="http://schemas.microsoft.com/office/drawing/2014/main" id="{79DA5054-7541-5F8A-FFDC-B16001D637F1}"/>
              </a:ext>
            </a:extLst>
          </p:cNvPr>
          <p:cNvSpPr txBox="1">
            <a:spLocks/>
          </p:cNvSpPr>
          <p:nvPr/>
        </p:nvSpPr>
        <p:spPr>
          <a:xfrm>
            <a:off x="435429" y="3771359"/>
            <a:ext cx="1083051" cy="1569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GB" sz="2500" b="0" kern="1200" spc="-60" baseline="0">
                <a:solidFill>
                  <a:schemeClr val="tx1"/>
                </a:solidFill>
                <a:latin typeface="+mj-lt"/>
                <a:ea typeface="AP Type Text" panose="02000000000000000000" pitchFamily="2" charset="0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-6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 Type Text"/>
                <a:ea typeface="AP Type Text"/>
                <a:cs typeface="+mj-cs"/>
              </a:rPr>
              <a:t>12% YoY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6CE5A0D-7735-F669-437F-E8F3982F000B}"/>
              </a:ext>
            </a:extLst>
          </p:cNvPr>
          <p:cNvCxnSpPr>
            <a:cxnSpLocks/>
          </p:cNvCxnSpPr>
          <p:nvPr/>
        </p:nvCxnSpPr>
        <p:spPr>
          <a:xfrm>
            <a:off x="1625600" y="3849243"/>
            <a:ext cx="9916033" cy="0"/>
          </a:xfrm>
          <a:prstGeom prst="line">
            <a:avLst/>
          </a:prstGeom>
          <a:ln w="19050" cap="rnd">
            <a:solidFill>
              <a:schemeClr val="accent2"/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4263A3B8-2FEA-0B0F-6766-93026F442138}"/>
              </a:ext>
            </a:extLst>
          </p:cNvPr>
          <p:cNvGraphicFramePr/>
          <p:nvPr/>
        </p:nvGraphicFramePr>
        <p:xfrm>
          <a:off x="1681825" y="1352550"/>
          <a:ext cx="1110410" cy="1110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04712E3B-08A7-D2F5-8994-2DB677426712}"/>
              </a:ext>
            </a:extLst>
          </p:cNvPr>
          <p:cNvGraphicFramePr/>
          <p:nvPr/>
        </p:nvGraphicFramePr>
        <p:xfrm>
          <a:off x="5015647" y="1352550"/>
          <a:ext cx="1110410" cy="1110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id="{74574DE9-372A-1CDD-A1D7-5AFE9A1DEAB2}"/>
              </a:ext>
            </a:extLst>
          </p:cNvPr>
          <p:cNvGraphicFramePr/>
          <p:nvPr/>
        </p:nvGraphicFramePr>
        <p:xfrm>
          <a:off x="3904373" y="1352550"/>
          <a:ext cx="1110410" cy="1110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20217AF6-CDCF-DD83-B2F0-FAF6B6DA2804}"/>
              </a:ext>
            </a:extLst>
          </p:cNvPr>
          <p:cNvGraphicFramePr/>
          <p:nvPr/>
        </p:nvGraphicFramePr>
        <p:xfrm>
          <a:off x="7238195" y="1352550"/>
          <a:ext cx="1110410" cy="1110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E83A21D3-9B1C-038A-5EAC-B9B6EF081A4E}"/>
              </a:ext>
            </a:extLst>
          </p:cNvPr>
          <p:cNvGraphicFramePr/>
          <p:nvPr/>
        </p:nvGraphicFramePr>
        <p:xfrm>
          <a:off x="6126921" y="1352550"/>
          <a:ext cx="1110410" cy="1110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45" name="Chart 44">
            <a:extLst>
              <a:ext uri="{FF2B5EF4-FFF2-40B4-BE49-F238E27FC236}">
                <a16:creationId xmlns:a16="http://schemas.microsoft.com/office/drawing/2014/main" id="{48A3E468-4420-4377-8BA5-C4B6745DF04B}"/>
              </a:ext>
            </a:extLst>
          </p:cNvPr>
          <p:cNvGraphicFramePr/>
          <p:nvPr/>
        </p:nvGraphicFramePr>
        <p:xfrm>
          <a:off x="9460743" y="1352550"/>
          <a:ext cx="1110410" cy="1110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46" name="Chart 45">
            <a:extLst>
              <a:ext uri="{FF2B5EF4-FFF2-40B4-BE49-F238E27FC236}">
                <a16:creationId xmlns:a16="http://schemas.microsoft.com/office/drawing/2014/main" id="{4BF90EF7-0319-D0BD-5BC2-78ABA5F7C4B5}"/>
              </a:ext>
            </a:extLst>
          </p:cNvPr>
          <p:cNvGraphicFramePr/>
          <p:nvPr/>
        </p:nvGraphicFramePr>
        <p:xfrm>
          <a:off x="8349469" y="1352550"/>
          <a:ext cx="1110410" cy="1110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7" name="Chart 46">
            <a:extLst>
              <a:ext uri="{FF2B5EF4-FFF2-40B4-BE49-F238E27FC236}">
                <a16:creationId xmlns:a16="http://schemas.microsoft.com/office/drawing/2014/main" id="{0215C10D-B4EF-AA69-C4F0-BF4CD7B1CF6A}"/>
              </a:ext>
            </a:extLst>
          </p:cNvPr>
          <p:cNvGraphicFramePr/>
          <p:nvPr/>
        </p:nvGraphicFramePr>
        <p:xfrm>
          <a:off x="10572015" y="1352550"/>
          <a:ext cx="1110410" cy="1110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9EA97C8-2444-7BC1-BB6A-F6B75D4E1D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2025 Australia Pos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8B4F114-C57C-73EF-61DB-6BB6BE4380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16B6A-336A-44FF-82DA-A4D1594FA055}" type="slidenum">
              <a:rPr lang="en-AU" smtClean="0"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622324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07AADF0-5F2C-6851-7ACD-1604E35EF9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2025 Australia Pos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9AAC1AC-464A-7B1A-5950-5D9D98373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16B6A-336A-44FF-82DA-A4D1594FA055}" type="slidenum">
              <a:rPr lang="en-AU" smtClean="0"/>
              <a:t>5</a:t>
            </a:fld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C2A22FB-A2F9-1BCD-DDB5-F68B8B9036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269081"/>
            <a:ext cx="9822608" cy="792000"/>
          </a:xfrm>
        </p:spPr>
        <p:txBody>
          <a:bodyPr/>
          <a:lstStyle/>
          <a:p>
            <a:r>
              <a:rPr lang="en-AU" sz="32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x-China and Amazon could account for more than 50% of all parcels moved across Australia within six years</a:t>
            </a:r>
            <a:endParaRPr lang="en-AU" sz="3200"/>
          </a:p>
        </p:txBody>
      </p:sp>
      <p:pic>
        <p:nvPicPr>
          <p:cNvPr id="7" name="Picture 6" descr="A white circle with black border&#10;&#10;AI-generated content may be incorrect.">
            <a:extLst>
              <a:ext uri="{FF2B5EF4-FFF2-40B4-BE49-F238E27FC236}">
                <a16:creationId xmlns:a16="http://schemas.microsoft.com/office/drawing/2014/main" id="{4580D449-389C-D279-A16E-26CCB3B11BB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11415" t="11701" r="2428"/>
          <a:stretch/>
        </p:blipFill>
        <p:spPr>
          <a:xfrm>
            <a:off x="484306" y="1137281"/>
            <a:ext cx="11223387" cy="4931845"/>
          </a:xfrm>
          <a:prstGeom prst="roundRect">
            <a:avLst>
              <a:gd name="adj" fmla="val 2793"/>
            </a:avLst>
          </a:prstGeom>
          <a:solidFill>
            <a:schemeClr val="bg1"/>
          </a:solidFill>
          <a:effectLst>
            <a:innerShdw blurRad="63500">
              <a:schemeClr val="bg2"/>
            </a:innerShdw>
          </a:effectLst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B5B29D7-2BE3-714D-DBDF-9BA6345DAA01}"/>
              </a:ext>
            </a:extLst>
          </p:cNvPr>
          <p:cNvSpPr txBox="1">
            <a:spLocks/>
          </p:cNvSpPr>
          <p:nvPr/>
        </p:nvSpPr>
        <p:spPr>
          <a:xfrm>
            <a:off x="545550" y="6419850"/>
            <a:ext cx="1800000" cy="238126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© 2025 Australia Pos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80810A8B-FB1C-2527-60BC-FE16D7ACB472}"/>
              </a:ext>
            </a:extLst>
          </p:cNvPr>
          <p:cNvSpPr txBox="1">
            <a:spLocks/>
          </p:cNvSpPr>
          <p:nvPr/>
        </p:nvSpPr>
        <p:spPr>
          <a:xfrm>
            <a:off x="336000" y="6419850"/>
            <a:ext cx="216000" cy="238126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b="1" kern="1200" spc="-2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70704B-CE94-48CC-AF30-84932A1262A7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403C1102-47EE-C998-E91D-03AEE4DF0B0E}"/>
              </a:ext>
            </a:extLst>
          </p:cNvPr>
          <p:cNvSpPr txBox="1">
            <a:spLocks/>
          </p:cNvSpPr>
          <p:nvPr/>
        </p:nvSpPr>
        <p:spPr>
          <a:xfrm>
            <a:off x="6236208" y="6332122"/>
            <a:ext cx="5471485" cy="37399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900" b="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P Type Text" panose="020B0503030202060203" pitchFamily="34" charset="0"/>
              <a:buNone/>
              <a:defRPr sz="2000" b="1" kern="1200" spc="-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P Type Text" panose="020B0503030202060203" pitchFamily="34" charset="0"/>
              <a:buNone/>
              <a:defRPr sz="1800" b="1" kern="1200" spc="-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P Type Text" panose="020B0503030202060203" pitchFamily="34" charset="0"/>
              <a:buNone/>
              <a:defRPr sz="1600" b="1" kern="1200" spc="-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P Type Text" panose="020B0503030202060203" pitchFamily="34" charset="0"/>
              <a:buNone/>
              <a:defRPr sz="1600" b="1" kern="1200" spc="-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P Type Text" panose="020B0503030202060203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P Type Text" panose="020B0503030202060203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P Type Text" panose="020B0503030202060203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P Type Text" panose="020B0503030202060203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1. Amazon volumes include Amazon Haul (which also originates from China but is excluded from the “ex-China” section), while the ex-China category covers forecasted volumes for </a:t>
            </a:r>
            <a:r>
              <a:rPr lang="en-AU" err="1"/>
              <a:t>Temu</a:t>
            </a:r>
            <a:r>
              <a:rPr lang="en-AU"/>
              <a:t>, SHEIN, and AliExpress.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146DCDEC-22B9-377D-1EF5-FB66BAED16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00084002"/>
              </p:ext>
            </p:extLst>
          </p:nvPr>
        </p:nvGraphicFramePr>
        <p:xfrm>
          <a:off x="267589" y="2086432"/>
          <a:ext cx="10781410" cy="40681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9AD9B9C5-96A2-F72F-0D3B-3F4D29234BA2}"/>
              </a:ext>
            </a:extLst>
          </p:cNvPr>
          <p:cNvSpPr/>
          <p:nvPr/>
        </p:nvSpPr>
        <p:spPr>
          <a:xfrm>
            <a:off x="524613" y="1258988"/>
            <a:ext cx="5014349" cy="423330"/>
          </a:xfrm>
          <a:prstGeom prst="rect">
            <a:avLst/>
          </a:prstGeom>
          <a:noFill/>
          <a:ln>
            <a:noFill/>
          </a:ln>
          <a:effectLst/>
        </p:spPr>
        <p:txBody>
          <a:bodyPr lIns="108000" tIns="72000" rIns="108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endParaRPr kumimoji="0" lang="en-AU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 Type Text (Body)"/>
              <a:ea typeface="+mn-ea"/>
              <a:cs typeface="+mn-cs"/>
            </a:endParaRP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1FC4344C-494C-3FF5-4FDB-1752B01D04A4}"/>
              </a:ext>
            </a:extLst>
          </p:cNvPr>
          <p:cNvSpPr txBox="1">
            <a:spLocks/>
          </p:cNvSpPr>
          <p:nvPr/>
        </p:nvSpPr>
        <p:spPr>
          <a:xfrm>
            <a:off x="563274" y="1400277"/>
            <a:ext cx="4215460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GB" sz="2500" b="0" kern="1200" spc="-60" baseline="0">
                <a:solidFill>
                  <a:schemeClr val="tx1"/>
                </a:solidFill>
                <a:latin typeface="+mj-lt"/>
                <a:ea typeface="AP Type Text" panose="02000000000000000000" pitchFamily="2" charset="0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40" b="0" i="0" u="none" strike="noStrike" kern="1200" spc="0" baseline="0">
                <a:solidFill>
                  <a:srgbClr val="212129"/>
                </a:solidFill>
                <a:latin typeface="+mn-lt"/>
                <a:ea typeface="+mn-ea"/>
                <a:cs typeface="+mn-cs"/>
              </a:defRPr>
            </a:pPr>
            <a:r>
              <a:rPr kumimoji="0" lang="en-AU" sz="1400" b="1" i="0" u="none" strike="noStrike" kern="1200" cap="none" spc="-50" normalizeH="0" baseline="0" noProof="0">
                <a:ln>
                  <a:noFill/>
                </a:ln>
                <a:solidFill>
                  <a:srgbClr val="212129"/>
                </a:solidFill>
                <a:effectLst/>
                <a:uLnTx/>
                <a:uFillTx/>
                <a:latin typeface="AP Type Text"/>
                <a:ea typeface="+mn-ea"/>
                <a:cs typeface="+mj-cs"/>
              </a:rPr>
              <a:t>Amazon, ex-China and Others share of total parcels</a:t>
            </a:r>
            <a:r>
              <a:rPr lang="en-US" sz="1400" b="1" spc="-50" baseline="30000">
                <a:latin typeface="AP Type Text"/>
                <a:ea typeface="+mn-ea"/>
                <a:cs typeface="+mn-cs"/>
              </a:rPr>
              <a:t>1</a:t>
            </a:r>
            <a:endParaRPr kumimoji="0" lang="en-AU" sz="1400" b="1" i="0" u="none" strike="noStrike" kern="1200" cap="none" spc="-50" normalizeH="0" baseline="0" noProof="0">
              <a:ln>
                <a:noFill/>
              </a:ln>
              <a:solidFill>
                <a:srgbClr val="212129"/>
              </a:solidFill>
              <a:effectLst/>
              <a:uLnTx/>
              <a:uFillTx/>
              <a:latin typeface="AP Type Text"/>
              <a:ea typeface="+mn-ea"/>
              <a:cs typeface="+mj-cs"/>
            </a:endParaRPr>
          </a:p>
        </p:txBody>
      </p:sp>
      <p:sp>
        <p:nvSpPr>
          <p:cNvPr id="15" name="Graphic 8">
            <a:extLst>
              <a:ext uri="{FF2B5EF4-FFF2-40B4-BE49-F238E27FC236}">
                <a16:creationId xmlns:a16="http://schemas.microsoft.com/office/drawing/2014/main" id="{E4699001-1165-16B9-B773-067214449C22}"/>
              </a:ext>
            </a:extLst>
          </p:cNvPr>
          <p:cNvSpPr/>
          <p:nvPr/>
        </p:nvSpPr>
        <p:spPr>
          <a:xfrm>
            <a:off x="4022693" y="1823725"/>
            <a:ext cx="2885724" cy="1459823"/>
          </a:xfrm>
          <a:custGeom>
            <a:avLst/>
            <a:gdLst>
              <a:gd name="connsiteX0" fmla="*/ 0 w 3968496"/>
              <a:gd name="connsiteY0" fmla="*/ 2122932 h 2122932"/>
              <a:gd name="connsiteX1" fmla="*/ 3968496 w 3968496"/>
              <a:gd name="connsiteY1" fmla="*/ 0 h 2122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968496" h="2122932">
                <a:moveTo>
                  <a:pt x="0" y="2122932"/>
                </a:moveTo>
                <a:cubicBezTo>
                  <a:pt x="0" y="2122932"/>
                  <a:pt x="2385155" y="1699355"/>
                  <a:pt x="3968496" y="0"/>
                </a:cubicBezTo>
              </a:path>
            </a:pathLst>
          </a:custGeom>
          <a:noFill/>
          <a:ln w="25400" cap="flat">
            <a:gradFill flip="none" rotWithShape="1">
              <a:gsLst>
                <a:gs pos="0">
                  <a:schemeClr val="accent5"/>
                </a:gs>
                <a:gs pos="100000">
                  <a:schemeClr val="accent3"/>
                </a:gs>
              </a:gsLst>
              <a:lin ang="16200000" scaled="1"/>
              <a:tileRect/>
            </a:gradFill>
            <a:prstDash val="solid"/>
            <a:miter/>
            <a:tailEnd type="arrow"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80F2457-E249-7332-AC0C-971593C9BA68}"/>
              </a:ext>
            </a:extLst>
          </p:cNvPr>
          <p:cNvSpPr txBox="1"/>
          <p:nvPr/>
        </p:nvSpPr>
        <p:spPr>
          <a:xfrm>
            <a:off x="6315156" y="1733233"/>
            <a:ext cx="1628494" cy="27699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spc="-50">
                <a:gradFill flip="none" rotWithShape="1">
                  <a:gsLst>
                    <a:gs pos="0">
                      <a:schemeClr val="accent3"/>
                    </a:gs>
                    <a:gs pos="71600">
                      <a:srgbClr val="E31842"/>
                    </a:gs>
                    <a:gs pos="100000">
                      <a:schemeClr val="accent2"/>
                    </a:gs>
                  </a:gsLst>
                  <a:lin ang="0" scaled="1"/>
                  <a:tileRect/>
                </a:gradFill>
                <a:latin typeface="+mj-lt"/>
              </a:rPr>
              <a:t>8% CAG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E53CCE5-CDC6-E5A7-63D3-A0C3BDE35AD2}"/>
              </a:ext>
            </a:extLst>
          </p:cNvPr>
          <p:cNvGrpSpPr/>
          <p:nvPr/>
        </p:nvGrpSpPr>
        <p:grpSpPr>
          <a:xfrm>
            <a:off x="524613" y="2421858"/>
            <a:ext cx="2525079" cy="190068"/>
            <a:chOff x="651773" y="5551651"/>
            <a:chExt cx="2525079" cy="190068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3C48F05-B208-61AB-87B7-8FADDA03C460}"/>
                </a:ext>
              </a:extLst>
            </p:cNvPr>
            <p:cNvSpPr/>
            <p:nvPr/>
          </p:nvSpPr>
          <p:spPr>
            <a:xfrm>
              <a:off x="874769" y="5587831"/>
              <a:ext cx="1174833" cy="153888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AU" sz="1000">
                  <a:solidFill>
                    <a:schemeClr val="tx1"/>
                  </a:solidFill>
                </a:rPr>
                <a:t>Ex China retailers </a:t>
              </a: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A4DCD07B-C0E5-68E4-426E-5D8E1B8CE0E5}"/>
                </a:ext>
              </a:extLst>
            </p:cNvPr>
            <p:cNvSpPr/>
            <p:nvPr/>
          </p:nvSpPr>
          <p:spPr>
            <a:xfrm>
              <a:off x="651773" y="5551651"/>
              <a:ext cx="190064" cy="190068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AU" sz="1100" b="1">
                <a:solidFill>
                  <a:schemeClr val="tx1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2F31949-4F10-7D9A-5C7F-766851735E2A}"/>
                </a:ext>
              </a:extLst>
            </p:cNvPr>
            <p:cNvSpPr txBox="1"/>
            <p:nvPr/>
          </p:nvSpPr>
          <p:spPr>
            <a:xfrm>
              <a:off x="1995481" y="5557053"/>
              <a:ext cx="1181371" cy="184666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200" b="1" spc="-50">
                  <a:gradFill flip="none" rotWithShape="1">
                    <a:gsLst>
                      <a:gs pos="0">
                        <a:schemeClr val="accent3"/>
                      </a:gs>
                      <a:gs pos="71600">
                        <a:srgbClr val="E31842"/>
                      </a:gs>
                      <a:gs pos="100000">
                        <a:schemeClr val="accent2"/>
                      </a:gs>
                    </a:gsLst>
                    <a:lin ang="0" scaled="1"/>
                    <a:tileRect/>
                  </a:gradFill>
                  <a:latin typeface="+mj-lt"/>
                </a:rPr>
                <a:t>7% CAGR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AF54B1C-C2C8-51A8-5189-31388EB66F56}"/>
              </a:ext>
            </a:extLst>
          </p:cNvPr>
          <p:cNvGrpSpPr/>
          <p:nvPr/>
        </p:nvGrpSpPr>
        <p:grpSpPr>
          <a:xfrm>
            <a:off x="524613" y="2065580"/>
            <a:ext cx="1955337" cy="190068"/>
            <a:chOff x="651773" y="5160204"/>
            <a:chExt cx="1955337" cy="190068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2CEAFB0-7D88-4E63-DFD2-114BC0F92E49}"/>
                </a:ext>
              </a:extLst>
            </p:cNvPr>
            <p:cNvSpPr/>
            <p:nvPr/>
          </p:nvSpPr>
          <p:spPr>
            <a:xfrm>
              <a:off x="874769" y="5196384"/>
              <a:ext cx="1174833" cy="153888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AU" sz="1000">
                  <a:solidFill>
                    <a:schemeClr val="tx1"/>
                  </a:solidFill>
                </a:rPr>
                <a:t>Amazon 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7C1B5876-55DF-3F13-2216-A1F0D667D579}"/>
                </a:ext>
              </a:extLst>
            </p:cNvPr>
            <p:cNvSpPr/>
            <p:nvPr/>
          </p:nvSpPr>
          <p:spPr>
            <a:xfrm>
              <a:off x="651773" y="5160204"/>
              <a:ext cx="190064" cy="190068"/>
            </a:xfrm>
            <a:prstGeom prst="ellipse">
              <a:avLst/>
            </a:prstGeom>
            <a:solidFill>
              <a:srgbClr val="232F3E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AU" sz="1100" b="1">
                <a:solidFill>
                  <a:schemeClr val="tx1"/>
                </a:solidFill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62EC3E6-BE1C-E49B-E624-ABC128840EA6}"/>
                </a:ext>
              </a:extLst>
            </p:cNvPr>
            <p:cNvSpPr txBox="1"/>
            <p:nvPr/>
          </p:nvSpPr>
          <p:spPr>
            <a:xfrm>
              <a:off x="1425739" y="5165606"/>
              <a:ext cx="1181371" cy="184666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200" b="1" spc="-50">
                  <a:gradFill flip="none" rotWithShape="1">
                    <a:gsLst>
                      <a:gs pos="0">
                        <a:schemeClr val="accent3"/>
                      </a:gs>
                      <a:gs pos="71600">
                        <a:srgbClr val="E31842"/>
                      </a:gs>
                      <a:gs pos="100000">
                        <a:schemeClr val="accent2"/>
                      </a:gs>
                    </a:gsLst>
                    <a:lin ang="0" scaled="1"/>
                    <a:tileRect/>
                  </a:gradFill>
                  <a:latin typeface="+mj-lt"/>
                </a:rPr>
                <a:t>25% CAGR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B169635-8927-DB74-6AE6-CF1825BA5D17}"/>
              </a:ext>
            </a:extLst>
          </p:cNvPr>
          <p:cNvGrpSpPr/>
          <p:nvPr/>
        </p:nvGrpSpPr>
        <p:grpSpPr>
          <a:xfrm>
            <a:off x="524613" y="1709302"/>
            <a:ext cx="2377368" cy="190068"/>
            <a:chOff x="651773" y="4768756"/>
            <a:chExt cx="2377368" cy="190068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31205CF-7B99-98A6-5CF5-40A97553ADF0}"/>
                </a:ext>
              </a:extLst>
            </p:cNvPr>
            <p:cNvSpPr/>
            <p:nvPr/>
          </p:nvSpPr>
          <p:spPr>
            <a:xfrm>
              <a:off x="874769" y="4804936"/>
              <a:ext cx="1174833" cy="153888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AU" sz="1000">
                  <a:solidFill>
                    <a:schemeClr val="tx1"/>
                  </a:solidFill>
                </a:rPr>
                <a:t>Other retailers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3A435AAE-CB56-88FF-C36F-F9AA60158D8F}"/>
                </a:ext>
              </a:extLst>
            </p:cNvPr>
            <p:cNvSpPr/>
            <p:nvPr/>
          </p:nvSpPr>
          <p:spPr>
            <a:xfrm>
              <a:off x="651773" y="4768756"/>
              <a:ext cx="190064" cy="19006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en-AU" sz="1100" b="1">
                <a:solidFill>
                  <a:schemeClr val="tx1"/>
                </a:solidFill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B7729E3-EEDB-1FD2-509E-C3DB8EEF25FE}"/>
                </a:ext>
              </a:extLst>
            </p:cNvPr>
            <p:cNvSpPr txBox="1"/>
            <p:nvPr/>
          </p:nvSpPr>
          <p:spPr>
            <a:xfrm>
              <a:off x="1847770" y="4774158"/>
              <a:ext cx="1181371" cy="184666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200" b="1" spc="-50">
                  <a:gradFill flip="none" rotWithShape="1">
                    <a:gsLst>
                      <a:gs pos="0">
                        <a:schemeClr val="accent3"/>
                      </a:gs>
                      <a:gs pos="71600">
                        <a:srgbClr val="E31842"/>
                      </a:gs>
                      <a:gs pos="100000">
                        <a:schemeClr val="accent2"/>
                      </a:gs>
                    </a:gsLst>
                    <a:lin ang="0" scaled="1"/>
                    <a:tileRect/>
                  </a:gradFill>
                  <a:latin typeface="+mj-lt"/>
                </a:rPr>
                <a:t>1% CAG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170241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large wave in the ocean&#10;&#10;AI-generated content may be incorrect.">
            <a:extLst>
              <a:ext uri="{FF2B5EF4-FFF2-40B4-BE49-F238E27FC236}">
                <a16:creationId xmlns:a16="http://schemas.microsoft.com/office/drawing/2014/main" id="{227DD3FE-6E78-7543-8726-43F0CC1909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19342"/>
            <a:ext cx="12266887" cy="8179665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5818314-FF9E-1703-5E78-776F22BE42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2025 Australia Post</a:t>
            </a:r>
          </a:p>
        </p:txBody>
      </p:sp>
    </p:spTree>
    <p:extLst>
      <p:ext uri="{BB962C8B-B14F-4D97-AF65-F5344CB8AC3E}">
        <p14:creationId xmlns:p14="http://schemas.microsoft.com/office/powerpoint/2010/main" val="26656310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786155-DAAC-B36A-15E9-AB63B8B199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1966098-DE8A-44DF-9901-3D5BD0F3DA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2025 Australia Pos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0F469F3-4FC6-6467-C05C-CCD2637BD9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269081"/>
            <a:ext cx="9822608" cy="792000"/>
          </a:xfrm>
        </p:spPr>
        <p:txBody>
          <a:bodyPr/>
          <a:lstStyle/>
          <a:p>
            <a:r>
              <a:rPr lang="en-AU" sz="3200">
                <a:gradFill flip="none">
                  <a:gsLst>
                    <a:gs pos="0">
                      <a:srgbClr val="DC1928"/>
                    </a:gs>
                    <a:gs pos="75000">
                      <a:srgbClr val="DC1928"/>
                    </a:gs>
                    <a:gs pos="100000">
                      <a:srgbClr val="F51482"/>
                    </a:gs>
                  </a:gsLst>
                  <a:lin ang="0" scaled="1"/>
                  <a:tileRect/>
                </a:gradFill>
                <a:latin typeface="Aptos"/>
                <a:cs typeface="Times New Roman"/>
              </a:rPr>
              <a:t>The winning edge</a:t>
            </a:r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50CEF5C-1387-D147-3095-9D25175AD9D3}"/>
              </a:ext>
            </a:extLst>
          </p:cNvPr>
          <p:cNvSpPr txBox="1">
            <a:spLocks/>
          </p:cNvSpPr>
          <p:nvPr/>
        </p:nvSpPr>
        <p:spPr>
          <a:xfrm>
            <a:off x="545550" y="6419850"/>
            <a:ext cx="1800000" cy="238126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© 2025 Australia Post</a:t>
            </a:r>
          </a:p>
        </p:txBody>
      </p:sp>
      <p:pic>
        <p:nvPicPr>
          <p:cNvPr id="3" name="Picture 2" descr="A white circle with black border&#10;&#10;AI-generated content may be incorrect.">
            <a:extLst>
              <a:ext uri="{FF2B5EF4-FFF2-40B4-BE49-F238E27FC236}">
                <a16:creationId xmlns:a16="http://schemas.microsoft.com/office/drawing/2014/main" id="{C93EB9DB-FCF0-4B62-FC82-5E79062B38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1071" y="1139499"/>
            <a:ext cx="11534775" cy="5019675"/>
          </a:xfrm>
          <a:prstGeom prst="rect">
            <a:avLst/>
          </a:prstGeom>
        </p:spPr>
      </p:pic>
      <p:pic>
        <p:nvPicPr>
          <p:cNvPr id="6" name="Picture 5" descr="A red and white background&#10;&#10;AI-generated content may be incorrect.">
            <a:extLst>
              <a:ext uri="{FF2B5EF4-FFF2-40B4-BE49-F238E27FC236}">
                <a16:creationId xmlns:a16="http://schemas.microsoft.com/office/drawing/2014/main" id="{E3EAD34D-6130-1E74-265B-3379E1B333E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2" t="5972" r="28680" b="-91"/>
          <a:stretch/>
        </p:blipFill>
        <p:spPr>
          <a:xfrm>
            <a:off x="627066" y="3310107"/>
            <a:ext cx="3434617" cy="2541179"/>
          </a:xfrm>
          <a:prstGeom prst="roundRect">
            <a:avLst>
              <a:gd name="adj" fmla="val 5602"/>
            </a:avLst>
          </a:prstGeom>
        </p:spPr>
      </p:pic>
      <p:pic>
        <p:nvPicPr>
          <p:cNvPr id="9" name="Picture 8" descr="A red and white background&#10;&#10;AI-generated content may be incorrect.">
            <a:extLst>
              <a:ext uri="{FF2B5EF4-FFF2-40B4-BE49-F238E27FC236}">
                <a16:creationId xmlns:a16="http://schemas.microsoft.com/office/drawing/2014/main" id="{CBDD51D0-2563-4729-465C-8A9335EBFEC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2" t="5972" r="28680" b="-91"/>
          <a:stretch/>
        </p:blipFill>
        <p:spPr>
          <a:xfrm>
            <a:off x="4375606" y="3308197"/>
            <a:ext cx="3434617" cy="2541179"/>
          </a:xfrm>
          <a:prstGeom prst="roundRect">
            <a:avLst>
              <a:gd name="adj" fmla="val 5602"/>
            </a:avLst>
          </a:prstGeom>
        </p:spPr>
      </p:pic>
      <p:pic>
        <p:nvPicPr>
          <p:cNvPr id="11" name="Picture 10" descr="A red and white background&#10;&#10;AI-generated content may be incorrect.">
            <a:extLst>
              <a:ext uri="{FF2B5EF4-FFF2-40B4-BE49-F238E27FC236}">
                <a16:creationId xmlns:a16="http://schemas.microsoft.com/office/drawing/2014/main" id="{484D50E3-E7F1-4427-342C-17235924857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2" t="5972" r="28680" b="-91"/>
          <a:stretch/>
        </p:blipFill>
        <p:spPr>
          <a:xfrm>
            <a:off x="8054908" y="3308705"/>
            <a:ext cx="3434617" cy="2541179"/>
          </a:xfrm>
          <a:prstGeom prst="roundRect">
            <a:avLst>
              <a:gd name="adj" fmla="val 5602"/>
            </a:avLst>
          </a:prstGeom>
        </p:spPr>
      </p:pic>
      <p:sp>
        <p:nvSpPr>
          <p:cNvPr id="13" name="TextBox 16">
            <a:extLst>
              <a:ext uri="{FF2B5EF4-FFF2-40B4-BE49-F238E27FC236}">
                <a16:creationId xmlns:a16="http://schemas.microsoft.com/office/drawing/2014/main" id="{DF0A9CBA-6BA1-D47C-AF0E-5C2863CC06F2}"/>
              </a:ext>
            </a:extLst>
          </p:cNvPr>
          <p:cNvSpPr txBox="1"/>
          <p:nvPr/>
        </p:nvSpPr>
        <p:spPr>
          <a:xfrm>
            <a:off x="934139" y="3983700"/>
            <a:ext cx="2816774" cy="1477328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2400" b="1" kern="100" spc="-50">
                <a:solidFill>
                  <a:schemeClr val="bg1"/>
                </a:solidFill>
                <a:latin typeface="+mj-lt"/>
                <a:cs typeface="Times New Roman"/>
              </a:rPr>
              <a:t>Understand point of differentiation and take action</a:t>
            </a:r>
            <a:endParaRPr lang="en-US" sz="2400" kern="100" spc="-50">
              <a:solidFill>
                <a:schemeClr val="bg1"/>
              </a:solidFill>
              <a:cs typeface="Times New Roman"/>
            </a:endParaRPr>
          </a:p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b="1" kern="100" spc="-50">
              <a:latin typeface="AP Type Text" panose="020B0503030202060203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535AA362-5A91-7CBA-6A93-4C54F4AEF57E}"/>
              </a:ext>
            </a:extLst>
          </p:cNvPr>
          <p:cNvSpPr txBox="1"/>
          <p:nvPr/>
        </p:nvSpPr>
        <p:spPr>
          <a:xfrm>
            <a:off x="4429966" y="3965414"/>
            <a:ext cx="3273807" cy="122736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>
                <a:solidFill>
                  <a:schemeClr val="bg1"/>
                </a:solidFill>
              </a:rPr>
              <a:t>Think loyalty, subscription models and fulfilment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17" name="TextBox 12">
            <a:extLst>
              <a:ext uri="{FF2B5EF4-FFF2-40B4-BE49-F238E27FC236}">
                <a16:creationId xmlns:a16="http://schemas.microsoft.com/office/drawing/2014/main" id="{8AF32C6D-9784-9436-ACB2-8E3380078052}"/>
              </a:ext>
            </a:extLst>
          </p:cNvPr>
          <p:cNvSpPr txBox="1"/>
          <p:nvPr/>
        </p:nvSpPr>
        <p:spPr>
          <a:xfrm>
            <a:off x="8176047" y="3714855"/>
            <a:ext cx="3202102" cy="122736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>
                <a:solidFill>
                  <a:schemeClr val="bg1"/>
                </a:solidFill>
              </a:rPr>
              <a:t>Move beyond current constraints and partner for automation and scale</a:t>
            </a:r>
            <a:endParaRPr lang="en-US" sz="2400">
              <a:solidFill>
                <a:schemeClr val="bg1"/>
              </a:solidFill>
            </a:endParaRPr>
          </a:p>
          <a:p>
            <a:pPr algn="ctr"/>
            <a:endParaRPr lang="en-US" sz="2400" b="1"/>
          </a:p>
        </p:txBody>
      </p:sp>
      <p:pic>
        <p:nvPicPr>
          <p:cNvPr id="18" name="Picture 17" descr="A red circle with a pencil in it&#10;&#10;AI-generated content may be incorrect.">
            <a:extLst>
              <a:ext uri="{FF2B5EF4-FFF2-40B4-BE49-F238E27FC236}">
                <a16:creationId xmlns:a16="http://schemas.microsoft.com/office/drawing/2014/main" id="{C3B29A80-2CCD-95F0-4D55-48BE11139F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0571" y="1100666"/>
            <a:ext cx="2337859" cy="2328334"/>
          </a:xfrm>
          <a:prstGeom prst="rect">
            <a:avLst/>
          </a:prstGeom>
          <a:ln>
            <a:noFill/>
          </a:ln>
        </p:spPr>
      </p:pic>
      <p:pic>
        <p:nvPicPr>
          <p:cNvPr id="19" name="Picture 18" descr="A red circle with hands and a heart in it&#10;&#10;AI-generated content may be incorrect.">
            <a:extLst>
              <a:ext uri="{FF2B5EF4-FFF2-40B4-BE49-F238E27FC236}">
                <a16:creationId xmlns:a16="http://schemas.microsoft.com/office/drawing/2014/main" id="{6014DFAD-EB6E-DF6F-6C98-736D7068D5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31834" y="1143000"/>
            <a:ext cx="2328334" cy="2328334"/>
          </a:xfrm>
          <a:prstGeom prst="rect">
            <a:avLst/>
          </a:prstGeom>
          <a:ln>
            <a:noFill/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1DE19F13-ED17-EEC0-FE59-6EACBFDEEB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10071" y="1138238"/>
            <a:ext cx="2337859" cy="233785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482085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56434C-0801-E61C-208E-768779E805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CB3C44E-E716-E511-0F07-3764E8084D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© 2025 Australia Pos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01AB8CA-F2B5-A222-C601-C25E27A8A5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269081"/>
            <a:ext cx="9822608" cy="792000"/>
          </a:xfrm>
        </p:spPr>
        <p:txBody>
          <a:bodyPr/>
          <a:lstStyle/>
          <a:p>
            <a:r>
              <a:rPr lang="en-AU" sz="32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ecommerce has become a large focus across retail to increase profitability and improve sustainability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C75BEAC-2423-31E4-BC7E-D69F0580E319}"/>
              </a:ext>
            </a:extLst>
          </p:cNvPr>
          <p:cNvSpPr txBox="1">
            <a:spLocks/>
          </p:cNvSpPr>
          <p:nvPr/>
        </p:nvSpPr>
        <p:spPr>
          <a:xfrm>
            <a:off x="545550" y="6419850"/>
            <a:ext cx="1800000" cy="238126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/>
              <a:t>© 2025 Australia Post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F94BCF9-3767-387A-CBEC-9E3AECED183A}"/>
              </a:ext>
            </a:extLst>
          </p:cNvPr>
          <p:cNvSpPr txBox="1">
            <a:spLocks/>
          </p:cNvSpPr>
          <p:nvPr/>
        </p:nvSpPr>
        <p:spPr>
          <a:xfrm>
            <a:off x="317891" y="1006043"/>
            <a:ext cx="11556218" cy="70214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spc="-100" baseline="0">
                <a:gradFill flip="none" rotWithShape="1">
                  <a:gsLst>
                    <a:gs pos="0">
                      <a:schemeClr val="accent2"/>
                    </a:gs>
                    <a:gs pos="7500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endParaRPr lang="en-US" sz="3600" b="0">
              <a:solidFill>
                <a:schemeClr val="tx1"/>
              </a:solidFill>
              <a:latin typeface="AP Type Text" panose="020B0503030202060203" pitchFamily="34" charset="0"/>
            </a:endParaRPr>
          </a:p>
        </p:txBody>
      </p:sp>
      <p:pic>
        <p:nvPicPr>
          <p:cNvPr id="7" name="Picture 6" descr="A white circle with black border&#10;&#10;AI-generated content may be incorrect.">
            <a:extLst>
              <a:ext uri="{FF2B5EF4-FFF2-40B4-BE49-F238E27FC236}">
                <a16:creationId xmlns:a16="http://schemas.microsoft.com/office/drawing/2014/main" id="{9C6B1342-AEBE-D327-59AC-7A7A276278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11415" t="11701" r="2428"/>
          <a:stretch/>
        </p:blipFill>
        <p:spPr>
          <a:xfrm>
            <a:off x="335002" y="2327534"/>
            <a:ext cx="11530177" cy="3813741"/>
          </a:xfrm>
          <a:prstGeom prst="roundRect">
            <a:avLst>
              <a:gd name="adj" fmla="val 2793"/>
            </a:avLst>
          </a:prstGeom>
          <a:solidFill>
            <a:schemeClr val="bg1"/>
          </a:solidFill>
          <a:effectLst>
            <a:innerShdw blurRad="63500">
              <a:schemeClr val="bg2"/>
            </a:innerShdw>
          </a:effec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5872348-76FA-7EF6-FADC-7DDB3C80404A}"/>
              </a:ext>
            </a:extLst>
          </p:cNvPr>
          <p:cNvSpPr txBox="1"/>
          <p:nvPr/>
        </p:nvSpPr>
        <p:spPr>
          <a:xfrm>
            <a:off x="336000" y="1798043"/>
            <a:ext cx="6964686" cy="5429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Autofit/>
          </a:bodyPr>
          <a:lstStyle/>
          <a:p>
            <a:r>
              <a:rPr lang="en-US" sz="2400" b="1">
                <a:latin typeface="AP Type Text"/>
              </a:rPr>
              <a:t>Helps solve challenges facing retailers: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358E203-E9E4-F3C7-450A-43838AD1014B}"/>
              </a:ext>
            </a:extLst>
          </p:cNvPr>
          <p:cNvSpPr txBox="1"/>
          <p:nvPr/>
        </p:nvSpPr>
        <p:spPr>
          <a:xfrm>
            <a:off x="4944341" y="4734299"/>
            <a:ext cx="2300141" cy="9945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Autofit/>
          </a:bodyPr>
          <a:lstStyle/>
          <a:p>
            <a:pPr algn="ctr"/>
            <a:r>
              <a:rPr lang="en-US" sz="2400" b="1"/>
              <a:t>Sustainability Ambition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1FF861C-D2E5-FEA1-D62B-6CAE9F714F73}"/>
              </a:ext>
            </a:extLst>
          </p:cNvPr>
          <p:cNvSpPr txBox="1"/>
          <p:nvPr/>
        </p:nvSpPr>
        <p:spPr>
          <a:xfrm>
            <a:off x="8380829" y="4734298"/>
            <a:ext cx="2821102" cy="9945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Autofit/>
          </a:bodyPr>
          <a:lstStyle/>
          <a:p>
            <a:pPr algn="ctr"/>
            <a:r>
              <a:rPr lang="en-US" sz="2400" b="1"/>
              <a:t>Consumer Thriftiness</a:t>
            </a:r>
          </a:p>
        </p:txBody>
      </p:sp>
      <p:sp>
        <p:nvSpPr>
          <p:cNvPr id="18" name="TextBox 16">
            <a:extLst>
              <a:ext uri="{FF2B5EF4-FFF2-40B4-BE49-F238E27FC236}">
                <a16:creationId xmlns:a16="http://schemas.microsoft.com/office/drawing/2014/main" id="{F749D8B6-CC3C-8997-3DC4-ADC8753D24D3}"/>
              </a:ext>
            </a:extLst>
          </p:cNvPr>
          <p:cNvSpPr txBox="1"/>
          <p:nvPr/>
        </p:nvSpPr>
        <p:spPr>
          <a:xfrm>
            <a:off x="999679" y="4735882"/>
            <a:ext cx="2816774" cy="73866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kern="100" spc="-50">
                <a:latin typeface="+mj-lt"/>
                <a:cs typeface="Times New Roman" panose="02020603050405020304" pitchFamily="18" charset="0"/>
              </a:rPr>
              <a:t>Increas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kern="100" spc="-50">
                <a:latin typeface="+mj-lt"/>
                <a:cs typeface="Times New Roman" panose="02020603050405020304" pitchFamily="18" charset="0"/>
              </a:rPr>
              <a:t>Returns</a:t>
            </a:r>
            <a:endParaRPr lang="en-GB" sz="1200" b="1" kern="100">
              <a:latin typeface="AP Type Text" panose="020B0503030202060203" pitchFamily="34" charset="0"/>
              <a:cs typeface="Times New Roman" panose="02020603050405020304" pitchFamily="18" charset="0"/>
            </a:endParaRPr>
          </a:p>
        </p:txBody>
      </p:sp>
      <p:pic>
        <p:nvPicPr>
          <p:cNvPr id="24" name="Picture 23" descr="A yellow and white box with red and white text&#10;&#10;AI-generated content may be incorrect.">
            <a:extLst>
              <a:ext uri="{FF2B5EF4-FFF2-40B4-BE49-F238E27FC236}">
                <a16:creationId xmlns:a16="http://schemas.microsoft.com/office/drawing/2014/main" id="{81B030A6-670E-5142-9DAE-AFD474E792C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699" t="10237" r="24791" b="10829"/>
          <a:stretch/>
        </p:blipFill>
        <p:spPr>
          <a:xfrm>
            <a:off x="1352048" y="2793055"/>
            <a:ext cx="1976350" cy="1934843"/>
          </a:xfrm>
          <a:prstGeom prst="rect">
            <a:avLst/>
          </a:prstGeom>
          <a:ln>
            <a:noFill/>
          </a:ln>
        </p:spPr>
      </p:pic>
      <p:pic>
        <p:nvPicPr>
          <p:cNvPr id="31" name="Picture 30" descr="A green and white logo&#10;&#10;AI-generated content may be incorrect.">
            <a:extLst>
              <a:ext uri="{FF2B5EF4-FFF2-40B4-BE49-F238E27FC236}">
                <a16:creationId xmlns:a16="http://schemas.microsoft.com/office/drawing/2014/main" id="{1A77795D-DD6A-391A-2247-A41B939953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98485" y="2836844"/>
            <a:ext cx="2185851" cy="1845325"/>
          </a:xfrm>
          <a:prstGeom prst="rect">
            <a:avLst/>
          </a:prstGeom>
          <a:ln>
            <a:noFill/>
          </a:ln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0B8CF1EE-F488-A91D-FAB8-DC1B75938947}"/>
              </a:ext>
            </a:extLst>
          </p:cNvPr>
          <p:cNvGrpSpPr/>
          <p:nvPr/>
        </p:nvGrpSpPr>
        <p:grpSpPr>
          <a:xfrm>
            <a:off x="9078557" y="3026839"/>
            <a:ext cx="1431816" cy="1458090"/>
            <a:chOff x="4717631" y="1490998"/>
            <a:chExt cx="609599" cy="609123"/>
          </a:xfrm>
          <a:solidFill>
            <a:schemeClr val="accent2"/>
          </a:solidFill>
        </p:grpSpPr>
        <p:grpSp>
          <p:nvGrpSpPr>
            <p:cNvPr id="33" name="Graphic 82">
              <a:extLst>
                <a:ext uri="{FF2B5EF4-FFF2-40B4-BE49-F238E27FC236}">
                  <a16:creationId xmlns:a16="http://schemas.microsoft.com/office/drawing/2014/main" id="{C57B6BBA-873B-5A6C-6D4E-6905E49B1FE5}"/>
                </a:ext>
              </a:extLst>
            </p:cNvPr>
            <p:cNvGrpSpPr/>
            <p:nvPr/>
          </p:nvGrpSpPr>
          <p:grpSpPr>
            <a:xfrm>
              <a:off x="4717631" y="1490998"/>
              <a:ext cx="609599" cy="609123"/>
              <a:chOff x="4717631" y="1490998"/>
              <a:chExt cx="609599" cy="609123"/>
            </a:xfrm>
            <a:grpFill/>
          </p:grpSpPr>
          <p:sp>
            <p:nvSpPr>
              <p:cNvPr id="35" name="Freeform: Shape 28">
                <a:extLst>
                  <a:ext uri="{FF2B5EF4-FFF2-40B4-BE49-F238E27FC236}">
                    <a16:creationId xmlns:a16="http://schemas.microsoft.com/office/drawing/2014/main" id="{673FC4DE-86EF-F28E-887A-79D45154F312}"/>
                  </a:ext>
                </a:extLst>
              </p:cNvPr>
              <p:cNvSpPr/>
              <p:nvPr/>
            </p:nvSpPr>
            <p:spPr>
              <a:xfrm>
                <a:off x="4717631" y="1491093"/>
                <a:ext cx="295275" cy="609028"/>
              </a:xfrm>
              <a:custGeom>
                <a:avLst/>
                <a:gdLst>
                  <a:gd name="connsiteX0" fmla="*/ 0 w 295275"/>
                  <a:gd name="connsiteY0" fmla="*/ 304514 h 609028"/>
                  <a:gd name="connsiteX1" fmla="*/ 295275 w 295275"/>
                  <a:gd name="connsiteY1" fmla="*/ 609029 h 609028"/>
                  <a:gd name="connsiteX2" fmla="*/ 295275 w 295275"/>
                  <a:gd name="connsiteY2" fmla="*/ 589979 h 609028"/>
                  <a:gd name="connsiteX3" fmla="*/ 19050 w 295275"/>
                  <a:gd name="connsiteY3" fmla="*/ 304514 h 609028"/>
                  <a:gd name="connsiteX4" fmla="*/ 295275 w 295275"/>
                  <a:gd name="connsiteY4" fmla="*/ 19050 h 609028"/>
                  <a:gd name="connsiteX5" fmla="*/ 295275 w 295275"/>
                  <a:gd name="connsiteY5" fmla="*/ 0 h 609028"/>
                  <a:gd name="connsiteX6" fmla="*/ 0 w 295275"/>
                  <a:gd name="connsiteY6" fmla="*/ 304514 h 609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5275" h="609028">
                    <a:moveTo>
                      <a:pt x="0" y="304514"/>
                    </a:moveTo>
                    <a:cubicBezTo>
                      <a:pt x="0" y="469392"/>
                      <a:pt x="131636" y="603980"/>
                      <a:pt x="295275" y="609029"/>
                    </a:cubicBezTo>
                    <a:lnTo>
                      <a:pt x="295275" y="589979"/>
                    </a:lnTo>
                    <a:cubicBezTo>
                      <a:pt x="142113" y="584930"/>
                      <a:pt x="19050" y="458819"/>
                      <a:pt x="19050" y="304514"/>
                    </a:cubicBezTo>
                    <a:cubicBezTo>
                      <a:pt x="19050" y="150209"/>
                      <a:pt x="142113" y="24098"/>
                      <a:pt x="295275" y="19050"/>
                    </a:cubicBezTo>
                    <a:lnTo>
                      <a:pt x="295275" y="0"/>
                    </a:lnTo>
                    <a:cubicBezTo>
                      <a:pt x="131636" y="5048"/>
                      <a:pt x="0" y="139732"/>
                      <a:pt x="0" y="30451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  <p:sp>
            <p:nvSpPr>
              <p:cNvPr id="36" name="Freeform: Shape 29">
                <a:extLst>
                  <a:ext uri="{FF2B5EF4-FFF2-40B4-BE49-F238E27FC236}">
                    <a16:creationId xmlns:a16="http://schemas.microsoft.com/office/drawing/2014/main" id="{6C86F738-B067-54C2-EE90-089274060D02}"/>
                  </a:ext>
                </a:extLst>
              </p:cNvPr>
              <p:cNvSpPr/>
              <p:nvPr/>
            </p:nvSpPr>
            <p:spPr>
              <a:xfrm>
                <a:off x="5031956" y="1490998"/>
                <a:ext cx="295274" cy="609028"/>
              </a:xfrm>
              <a:custGeom>
                <a:avLst/>
                <a:gdLst>
                  <a:gd name="connsiteX0" fmla="*/ 0 w 295274"/>
                  <a:gd name="connsiteY0" fmla="*/ 0 h 609028"/>
                  <a:gd name="connsiteX1" fmla="*/ 0 w 295274"/>
                  <a:gd name="connsiteY1" fmla="*/ 19050 h 609028"/>
                  <a:gd name="connsiteX2" fmla="*/ 276225 w 295274"/>
                  <a:gd name="connsiteY2" fmla="*/ 304514 h 609028"/>
                  <a:gd name="connsiteX3" fmla="*/ 0 w 295274"/>
                  <a:gd name="connsiteY3" fmla="*/ 589979 h 609028"/>
                  <a:gd name="connsiteX4" fmla="*/ 0 w 295274"/>
                  <a:gd name="connsiteY4" fmla="*/ 609029 h 609028"/>
                  <a:gd name="connsiteX5" fmla="*/ 295275 w 295274"/>
                  <a:gd name="connsiteY5" fmla="*/ 304514 h 609028"/>
                  <a:gd name="connsiteX6" fmla="*/ 0 w 295274"/>
                  <a:gd name="connsiteY6" fmla="*/ 0 h 609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5274" h="609028">
                    <a:moveTo>
                      <a:pt x="0" y="0"/>
                    </a:moveTo>
                    <a:lnTo>
                      <a:pt x="0" y="19050"/>
                    </a:lnTo>
                    <a:cubicBezTo>
                      <a:pt x="153162" y="24098"/>
                      <a:pt x="276225" y="150209"/>
                      <a:pt x="276225" y="304514"/>
                    </a:cubicBezTo>
                    <a:cubicBezTo>
                      <a:pt x="276225" y="458819"/>
                      <a:pt x="153162" y="584930"/>
                      <a:pt x="0" y="589979"/>
                    </a:cubicBezTo>
                    <a:lnTo>
                      <a:pt x="0" y="609029"/>
                    </a:lnTo>
                    <a:cubicBezTo>
                      <a:pt x="163639" y="603980"/>
                      <a:pt x="295275" y="469297"/>
                      <a:pt x="295275" y="304514"/>
                    </a:cubicBezTo>
                    <a:cubicBezTo>
                      <a:pt x="295275" y="139732"/>
                      <a:pt x="163639" y="5048"/>
                      <a:pt x="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/>
              </a:p>
            </p:txBody>
          </p:sp>
        </p:grpSp>
        <p:sp>
          <p:nvSpPr>
            <p:cNvPr id="34" name="Freeform: Shape 27">
              <a:extLst>
                <a:ext uri="{FF2B5EF4-FFF2-40B4-BE49-F238E27FC236}">
                  <a16:creationId xmlns:a16="http://schemas.microsoft.com/office/drawing/2014/main" id="{4AAB3F91-CA5B-52EF-3E1E-DDADA33880F1}"/>
                </a:ext>
              </a:extLst>
            </p:cNvPr>
            <p:cNvSpPr/>
            <p:nvPr/>
          </p:nvSpPr>
          <p:spPr>
            <a:xfrm>
              <a:off x="4822311" y="1642922"/>
              <a:ext cx="371632" cy="314325"/>
            </a:xfrm>
            <a:custGeom>
              <a:avLst/>
              <a:gdLst>
                <a:gd name="connsiteX0" fmla="*/ 123920 w 371632"/>
                <a:gd name="connsiteY0" fmla="*/ 238125 h 314325"/>
                <a:gd name="connsiteX1" fmla="*/ 85820 w 371632"/>
                <a:gd name="connsiteY1" fmla="*/ 276225 h 314325"/>
                <a:gd name="connsiteX2" fmla="*/ 123920 w 371632"/>
                <a:gd name="connsiteY2" fmla="*/ 314325 h 314325"/>
                <a:gd name="connsiteX3" fmla="*/ 162020 w 371632"/>
                <a:gd name="connsiteY3" fmla="*/ 276225 h 314325"/>
                <a:gd name="connsiteX4" fmla="*/ 123920 w 371632"/>
                <a:gd name="connsiteY4" fmla="*/ 238125 h 314325"/>
                <a:gd name="connsiteX5" fmla="*/ 123920 w 371632"/>
                <a:gd name="connsiteY5" fmla="*/ 295275 h 314325"/>
                <a:gd name="connsiteX6" fmla="*/ 104870 w 371632"/>
                <a:gd name="connsiteY6" fmla="*/ 276225 h 314325"/>
                <a:gd name="connsiteX7" fmla="*/ 123920 w 371632"/>
                <a:gd name="connsiteY7" fmla="*/ 257175 h 314325"/>
                <a:gd name="connsiteX8" fmla="*/ 142970 w 371632"/>
                <a:gd name="connsiteY8" fmla="*/ 276225 h 314325"/>
                <a:gd name="connsiteX9" fmla="*/ 123920 w 371632"/>
                <a:gd name="connsiteY9" fmla="*/ 295275 h 314325"/>
                <a:gd name="connsiteX10" fmla="*/ 128683 w 371632"/>
                <a:gd name="connsiteY10" fmla="*/ 200025 h 314325"/>
                <a:gd name="connsiteX11" fmla="*/ 333470 w 371632"/>
                <a:gd name="connsiteY11" fmla="*/ 200025 h 314325"/>
                <a:gd name="connsiteX12" fmla="*/ 333470 w 371632"/>
                <a:gd name="connsiteY12" fmla="*/ 219075 h 314325"/>
                <a:gd name="connsiteX13" fmla="*/ 128683 w 371632"/>
                <a:gd name="connsiteY13" fmla="*/ 219075 h 314325"/>
                <a:gd name="connsiteX14" fmla="*/ 89154 w 371632"/>
                <a:gd name="connsiteY14" fmla="*/ 189262 h 314325"/>
                <a:gd name="connsiteX15" fmla="*/ 40481 w 371632"/>
                <a:gd name="connsiteY15" fmla="*/ 19050 h 314325"/>
                <a:gd name="connsiteX16" fmla="*/ 0 w 371632"/>
                <a:gd name="connsiteY16" fmla="*/ 19050 h 314325"/>
                <a:gd name="connsiteX17" fmla="*/ 0 w 371632"/>
                <a:gd name="connsiteY17" fmla="*/ 0 h 314325"/>
                <a:gd name="connsiteX18" fmla="*/ 47625 w 371632"/>
                <a:gd name="connsiteY18" fmla="*/ 0 h 314325"/>
                <a:gd name="connsiteX19" fmla="*/ 56769 w 371632"/>
                <a:gd name="connsiteY19" fmla="*/ 6953 h 314325"/>
                <a:gd name="connsiteX20" fmla="*/ 107347 w 371632"/>
                <a:gd name="connsiteY20" fmla="*/ 184118 h 314325"/>
                <a:gd name="connsiteX21" fmla="*/ 128588 w 371632"/>
                <a:gd name="connsiteY21" fmla="*/ 200120 h 314325"/>
                <a:gd name="connsiteX22" fmla="*/ 371285 w 371632"/>
                <a:gd name="connsiteY22" fmla="*/ 40291 h 314325"/>
                <a:gd name="connsiteX23" fmla="*/ 342710 w 371632"/>
                <a:gd name="connsiteY23" fmla="*/ 164116 h 314325"/>
                <a:gd name="connsiteX24" fmla="*/ 333470 w 371632"/>
                <a:gd name="connsiteY24" fmla="*/ 171545 h 314325"/>
                <a:gd name="connsiteX25" fmla="*/ 123730 w 371632"/>
                <a:gd name="connsiteY25" fmla="*/ 171545 h 314325"/>
                <a:gd name="connsiteX26" fmla="*/ 118301 w 371632"/>
                <a:gd name="connsiteY26" fmla="*/ 152495 h 314325"/>
                <a:gd name="connsiteX27" fmla="*/ 325946 w 371632"/>
                <a:gd name="connsiteY27" fmla="*/ 152495 h 314325"/>
                <a:gd name="connsiteX28" fmla="*/ 350139 w 371632"/>
                <a:gd name="connsiteY28" fmla="*/ 47720 h 314325"/>
                <a:gd name="connsiteX29" fmla="*/ 88392 w 371632"/>
                <a:gd name="connsiteY29" fmla="*/ 47720 h 314325"/>
                <a:gd name="connsiteX30" fmla="*/ 82963 w 371632"/>
                <a:gd name="connsiteY30" fmla="*/ 28670 h 314325"/>
                <a:gd name="connsiteX31" fmla="*/ 362141 w 371632"/>
                <a:gd name="connsiteY31" fmla="*/ 28670 h 314325"/>
                <a:gd name="connsiteX32" fmla="*/ 369570 w 371632"/>
                <a:gd name="connsiteY32" fmla="*/ 32290 h 314325"/>
                <a:gd name="connsiteX33" fmla="*/ 371380 w 371632"/>
                <a:gd name="connsiteY33" fmla="*/ 40386 h 314325"/>
                <a:gd name="connsiteX34" fmla="*/ 285845 w 371632"/>
                <a:gd name="connsiteY34" fmla="*/ 238125 h 314325"/>
                <a:gd name="connsiteX35" fmla="*/ 247745 w 371632"/>
                <a:gd name="connsiteY35" fmla="*/ 276225 h 314325"/>
                <a:gd name="connsiteX36" fmla="*/ 285845 w 371632"/>
                <a:gd name="connsiteY36" fmla="*/ 314325 h 314325"/>
                <a:gd name="connsiteX37" fmla="*/ 323945 w 371632"/>
                <a:gd name="connsiteY37" fmla="*/ 276225 h 314325"/>
                <a:gd name="connsiteX38" fmla="*/ 285845 w 371632"/>
                <a:gd name="connsiteY38" fmla="*/ 238125 h 314325"/>
                <a:gd name="connsiteX39" fmla="*/ 285845 w 371632"/>
                <a:gd name="connsiteY39" fmla="*/ 295275 h 314325"/>
                <a:gd name="connsiteX40" fmla="*/ 266795 w 371632"/>
                <a:gd name="connsiteY40" fmla="*/ 276225 h 314325"/>
                <a:gd name="connsiteX41" fmla="*/ 285845 w 371632"/>
                <a:gd name="connsiteY41" fmla="*/ 257175 h 314325"/>
                <a:gd name="connsiteX42" fmla="*/ 304895 w 371632"/>
                <a:gd name="connsiteY42" fmla="*/ 276225 h 314325"/>
                <a:gd name="connsiteX43" fmla="*/ 285845 w 371632"/>
                <a:gd name="connsiteY43" fmla="*/ 295275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71632" h="314325">
                  <a:moveTo>
                    <a:pt x="123920" y="238125"/>
                  </a:moveTo>
                  <a:cubicBezTo>
                    <a:pt x="102870" y="238125"/>
                    <a:pt x="85820" y="255175"/>
                    <a:pt x="85820" y="276225"/>
                  </a:cubicBezTo>
                  <a:cubicBezTo>
                    <a:pt x="85820" y="297275"/>
                    <a:pt x="102870" y="314325"/>
                    <a:pt x="123920" y="314325"/>
                  </a:cubicBezTo>
                  <a:cubicBezTo>
                    <a:pt x="144971" y="314325"/>
                    <a:pt x="162020" y="297275"/>
                    <a:pt x="162020" y="276225"/>
                  </a:cubicBezTo>
                  <a:cubicBezTo>
                    <a:pt x="162020" y="255175"/>
                    <a:pt x="144971" y="238125"/>
                    <a:pt x="123920" y="238125"/>
                  </a:cubicBezTo>
                  <a:close/>
                  <a:moveTo>
                    <a:pt x="123920" y="295275"/>
                  </a:moveTo>
                  <a:cubicBezTo>
                    <a:pt x="113443" y="295275"/>
                    <a:pt x="104870" y="286703"/>
                    <a:pt x="104870" y="276225"/>
                  </a:cubicBezTo>
                  <a:cubicBezTo>
                    <a:pt x="104870" y="265748"/>
                    <a:pt x="113443" y="257175"/>
                    <a:pt x="123920" y="257175"/>
                  </a:cubicBezTo>
                  <a:cubicBezTo>
                    <a:pt x="134398" y="257175"/>
                    <a:pt x="142970" y="265748"/>
                    <a:pt x="142970" y="276225"/>
                  </a:cubicBezTo>
                  <a:cubicBezTo>
                    <a:pt x="142970" y="286703"/>
                    <a:pt x="134398" y="295275"/>
                    <a:pt x="123920" y="295275"/>
                  </a:cubicBezTo>
                  <a:close/>
                  <a:moveTo>
                    <a:pt x="128683" y="200025"/>
                  </a:moveTo>
                  <a:lnTo>
                    <a:pt x="333470" y="200025"/>
                  </a:lnTo>
                  <a:lnTo>
                    <a:pt x="333470" y="219075"/>
                  </a:lnTo>
                  <a:lnTo>
                    <a:pt x="128683" y="219075"/>
                  </a:lnTo>
                  <a:cubicBezTo>
                    <a:pt x="110395" y="219075"/>
                    <a:pt x="94202" y="206788"/>
                    <a:pt x="89154" y="189262"/>
                  </a:cubicBezTo>
                  <a:lnTo>
                    <a:pt x="40481" y="19050"/>
                  </a:lnTo>
                  <a:lnTo>
                    <a:pt x="0" y="19050"/>
                  </a:lnTo>
                  <a:lnTo>
                    <a:pt x="0" y="0"/>
                  </a:lnTo>
                  <a:lnTo>
                    <a:pt x="47625" y="0"/>
                  </a:lnTo>
                  <a:cubicBezTo>
                    <a:pt x="51911" y="0"/>
                    <a:pt x="55626" y="2858"/>
                    <a:pt x="56769" y="6953"/>
                  </a:cubicBezTo>
                  <a:lnTo>
                    <a:pt x="107347" y="184118"/>
                  </a:lnTo>
                  <a:cubicBezTo>
                    <a:pt x="110014" y="193548"/>
                    <a:pt x="118777" y="200120"/>
                    <a:pt x="128588" y="200120"/>
                  </a:cubicBezTo>
                  <a:close/>
                  <a:moveTo>
                    <a:pt x="371285" y="40291"/>
                  </a:moveTo>
                  <a:lnTo>
                    <a:pt x="342710" y="164116"/>
                  </a:lnTo>
                  <a:cubicBezTo>
                    <a:pt x="341757" y="168402"/>
                    <a:pt x="337852" y="171545"/>
                    <a:pt x="333470" y="171545"/>
                  </a:cubicBezTo>
                  <a:lnTo>
                    <a:pt x="123730" y="171545"/>
                  </a:lnTo>
                  <a:lnTo>
                    <a:pt x="118301" y="152495"/>
                  </a:lnTo>
                  <a:lnTo>
                    <a:pt x="325946" y="152495"/>
                  </a:lnTo>
                  <a:lnTo>
                    <a:pt x="350139" y="47720"/>
                  </a:lnTo>
                  <a:lnTo>
                    <a:pt x="88392" y="47720"/>
                  </a:lnTo>
                  <a:lnTo>
                    <a:pt x="82963" y="28670"/>
                  </a:lnTo>
                  <a:lnTo>
                    <a:pt x="362141" y="28670"/>
                  </a:lnTo>
                  <a:cubicBezTo>
                    <a:pt x="364998" y="28670"/>
                    <a:pt x="367760" y="30004"/>
                    <a:pt x="369570" y="32290"/>
                  </a:cubicBezTo>
                  <a:cubicBezTo>
                    <a:pt x="371380" y="34576"/>
                    <a:pt x="372047" y="37529"/>
                    <a:pt x="371380" y="40386"/>
                  </a:cubicBezTo>
                  <a:close/>
                  <a:moveTo>
                    <a:pt x="285845" y="238125"/>
                  </a:moveTo>
                  <a:cubicBezTo>
                    <a:pt x="264795" y="238125"/>
                    <a:pt x="247745" y="255175"/>
                    <a:pt x="247745" y="276225"/>
                  </a:cubicBezTo>
                  <a:cubicBezTo>
                    <a:pt x="247745" y="297275"/>
                    <a:pt x="264795" y="314325"/>
                    <a:pt x="285845" y="314325"/>
                  </a:cubicBezTo>
                  <a:cubicBezTo>
                    <a:pt x="306896" y="314325"/>
                    <a:pt x="323945" y="297275"/>
                    <a:pt x="323945" y="276225"/>
                  </a:cubicBezTo>
                  <a:cubicBezTo>
                    <a:pt x="323945" y="255175"/>
                    <a:pt x="306896" y="238125"/>
                    <a:pt x="285845" y="238125"/>
                  </a:cubicBezTo>
                  <a:close/>
                  <a:moveTo>
                    <a:pt x="285845" y="295275"/>
                  </a:moveTo>
                  <a:cubicBezTo>
                    <a:pt x="275368" y="295275"/>
                    <a:pt x="266795" y="286703"/>
                    <a:pt x="266795" y="276225"/>
                  </a:cubicBezTo>
                  <a:cubicBezTo>
                    <a:pt x="266795" y="265748"/>
                    <a:pt x="275368" y="257175"/>
                    <a:pt x="285845" y="257175"/>
                  </a:cubicBezTo>
                  <a:cubicBezTo>
                    <a:pt x="296323" y="257175"/>
                    <a:pt x="304895" y="265748"/>
                    <a:pt x="304895" y="276225"/>
                  </a:cubicBezTo>
                  <a:cubicBezTo>
                    <a:pt x="304895" y="286703"/>
                    <a:pt x="296323" y="295275"/>
                    <a:pt x="285845" y="2952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AU"/>
            </a:p>
          </p:txBody>
        </p:sp>
      </p:grpSp>
    </p:spTree>
    <p:extLst>
      <p:ext uri="{BB962C8B-B14F-4D97-AF65-F5344CB8AC3E}">
        <p14:creationId xmlns:p14="http://schemas.microsoft.com/office/powerpoint/2010/main" val="23190417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A89177-DDCF-7021-8EDE-F29F9A7847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EDAD3AF9-6F4F-2255-58D4-6E6A7A0D07DF}"/>
              </a:ext>
            </a:extLst>
          </p:cNvPr>
          <p:cNvSpPr txBox="1"/>
          <p:nvPr/>
        </p:nvSpPr>
        <p:spPr>
          <a:xfrm>
            <a:off x="6602950" y="1221234"/>
            <a:ext cx="3884930" cy="215444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-50" normalizeH="0" baseline="0" noProof="0">
                <a:ln>
                  <a:noFill/>
                </a:ln>
                <a:solidFill>
                  <a:srgbClr val="DC1928"/>
                </a:solidFill>
                <a:effectLst/>
                <a:uLnTx/>
                <a:uFillTx/>
                <a:latin typeface="AP Type Text"/>
                <a:ea typeface="+mn-ea"/>
                <a:cs typeface="+mn-cs"/>
              </a:rPr>
              <a:t>What to expect in the next 5 year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A219C96-0AC5-8C7A-2485-7F9FA6D065E1}"/>
              </a:ext>
            </a:extLst>
          </p:cNvPr>
          <p:cNvCxnSpPr>
            <a:cxnSpLocks/>
          </p:cNvCxnSpPr>
          <p:nvPr/>
        </p:nvCxnSpPr>
        <p:spPr>
          <a:xfrm>
            <a:off x="6488650" y="1191153"/>
            <a:ext cx="0" cy="275606"/>
          </a:xfrm>
          <a:prstGeom prst="line">
            <a:avLst/>
          </a:prstGeom>
          <a:ln w="2540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F56842C-045C-17FF-AA48-D96823284EDF}"/>
              </a:ext>
            </a:extLst>
          </p:cNvPr>
          <p:cNvSpPr txBox="1">
            <a:spLocks/>
          </p:cNvSpPr>
          <p:nvPr/>
        </p:nvSpPr>
        <p:spPr>
          <a:xfrm>
            <a:off x="6223278" y="1605926"/>
            <a:ext cx="5632721" cy="4409722"/>
          </a:xfrm>
          <a:prstGeom prst="roundRect">
            <a:avLst>
              <a:gd name="adj" fmla="val 2993"/>
            </a:avLst>
          </a:prstGeom>
          <a:solidFill>
            <a:schemeClr val="bg1"/>
          </a:solidFill>
          <a:ln>
            <a:noFill/>
          </a:ln>
          <a:effectLst>
            <a:innerShdw blurRad="63500">
              <a:schemeClr val="bg2"/>
            </a:inn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 anchorCtr="0"/>
          <a:lstStyle>
            <a:defPPr>
              <a:defRPr lang="en-US"/>
            </a:defPPr>
            <a:lvl1pPr algn="r">
              <a:defRPr sz="1400" b="1">
                <a:solidFill>
                  <a:prstClr val="white"/>
                </a:solidFill>
                <a:latin typeface="AP Type Text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 Type Text"/>
                <a:ea typeface="+mn-ea"/>
                <a:cs typeface="+mn-cs"/>
              </a:rPr>
              <a:t>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F062337F-AB12-6F34-FB09-E63D891C06D4}"/>
              </a:ext>
            </a:extLst>
          </p:cNvPr>
          <p:cNvGraphicFramePr/>
          <p:nvPr/>
        </p:nvGraphicFramePr>
        <p:xfrm>
          <a:off x="6488650" y="2274034"/>
          <a:ext cx="4791925" cy="35693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C0D73932-9353-811A-2A36-1598CF9BDEB4}"/>
              </a:ext>
            </a:extLst>
          </p:cNvPr>
          <p:cNvSpPr txBox="1"/>
          <p:nvPr/>
        </p:nvSpPr>
        <p:spPr>
          <a:xfrm>
            <a:off x="6488649" y="1830894"/>
            <a:ext cx="4276333" cy="40011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rgbClr val="212129"/>
                </a:solidFill>
                <a:effectLst/>
                <a:uLnTx/>
                <a:uFillTx/>
                <a:latin typeface="AP Type Text"/>
                <a:ea typeface="+mn-ea"/>
                <a:cs typeface="+mn-cs"/>
              </a:rPr>
              <a:t>Consumers intend to buy more second-hand goods in the next 5 years</a:t>
            </a:r>
            <a:r>
              <a:rPr kumimoji="0" lang="en-AU" sz="1400" b="1" i="0" u="none" strike="noStrike" kern="100" cap="none" spc="-10" normalizeH="0" baseline="30000" noProof="0">
                <a:ln>
                  <a:noFill/>
                </a:ln>
                <a:solidFill>
                  <a:srgbClr val="212129"/>
                </a:solidFill>
                <a:effectLst/>
                <a:uLnTx/>
                <a:uFillTx/>
                <a:latin typeface="AP Type Text"/>
                <a:ea typeface="Roboto"/>
                <a:cs typeface="Times New Roman"/>
              </a:rPr>
              <a:t>2</a:t>
            </a:r>
            <a:endParaRPr kumimoji="0" lang="en-AU" sz="1200" b="1" i="0" u="none" strike="noStrike" kern="1200" cap="none" spc="0" normalizeH="0" baseline="0" noProof="0">
              <a:ln>
                <a:noFill/>
              </a:ln>
              <a:solidFill>
                <a:srgbClr val="212129"/>
              </a:solidFill>
              <a:effectLst/>
              <a:uLnTx/>
              <a:uFillTx/>
              <a:latin typeface="AP Type Text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9C9435E-0D14-A49F-F2F7-BCC3E5C933B1}"/>
              </a:ext>
            </a:extLst>
          </p:cNvPr>
          <p:cNvSpPr txBox="1"/>
          <p:nvPr/>
        </p:nvSpPr>
        <p:spPr>
          <a:xfrm>
            <a:off x="6793055" y="2647823"/>
            <a:ext cx="1220115" cy="184666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>
                <a:ln>
                  <a:noFill/>
                </a:ln>
                <a:solidFill>
                  <a:srgbClr val="212129"/>
                </a:solidFill>
                <a:effectLst/>
                <a:uLnTx/>
                <a:uFillTx/>
                <a:latin typeface="AP Type Text"/>
                <a:ea typeface="+mn-ea"/>
                <a:cs typeface="+mn-cs"/>
              </a:rPr>
              <a:t>Gen Z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D337C89-CA12-D986-9578-B8CA60BC95EE}"/>
              </a:ext>
            </a:extLst>
          </p:cNvPr>
          <p:cNvSpPr txBox="1"/>
          <p:nvPr/>
        </p:nvSpPr>
        <p:spPr>
          <a:xfrm>
            <a:off x="6793055" y="3303916"/>
            <a:ext cx="1220115" cy="184666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>
                <a:ln>
                  <a:noFill/>
                </a:ln>
                <a:solidFill>
                  <a:srgbClr val="212129"/>
                </a:solidFill>
                <a:effectLst/>
                <a:uLnTx/>
                <a:uFillTx/>
                <a:latin typeface="AP Type Text"/>
                <a:ea typeface="+mn-ea"/>
                <a:cs typeface="+mn-cs"/>
              </a:rPr>
              <a:t>Millennial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182B7F5-8ACB-9E8B-D188-2844647F48CC}"/>
              </a:ext>
            </a:extLst>
          </p:cNvPr>
          <p:cNvSpPr txBox="1"/>
          <p:nvPr/>
        </p:nvSpPr>
        <p:spPr>
          <a:xfrm>
            <a:off x="6793055" y="3960009"/>
            <a:ext cx="1220115" cy="184666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>
                <a:ln>
                  <a:noFill/>
                </a:ln>
                <a:solidFill>
                  <a:srgbClr val="212129"/>
                </a:solidFill>
                <a:effectLst/>
                <a:uLnTx/>
                <a:uFillTx/>
                <a:latin typeface="AP Type Text"/>
                <a:ea typeface="+mn-ea"/>
                <a:cs typeface="+mn-cs"/>
              </a:rPr>
              <a:t>Gen X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0231D46-219B-2865-6B73-594C169123D8}"/>
              </a:ext>
            </a:extLst>
          </p:cNvPr>
          <p:cNvSpPr txBox="1"/>
          <p:nvPr/>
        </p:nvSpPr>
        <p:spPr>
          <a:xfrm>
            <a:off x="6793055" y="4616102"/>
            <a:ext cx="1220115" cy="184666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>
                <a:ln>
                  <a:noFill/>
                </a:ln>
                <a:solidFill>
                  <a:srgbClr val="212129"/>
                </a:solidFill>
                <a:effectLst/>
                <a:uLnTx/>
                <a:uFillTx/>
                <a:latin typeface="AP Type Text"/>
                <a:ea typeface="+mn-ea"/>
                <a:cs typeface="+mn-cs"/>
              </a:rPr>
              <a:t>Baby Boomer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AB27CF5-E7B7-F8DA-0880-CF63FE88B817}"/>
              </a:ext>
            </a:extLst>
          </p:cNvPr>
          <p:cNvSpPr txBox="1"/>
          <p:nvPr/>
        </p:nvSpPr>
        <p:spPr>
          <a:xfrm>
            <a:off x="6793055" y="5272195"/>
            <a:ext cx="1220115" cy="184666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>
                <a:ln>
                  <a:noFill/>
                </a:ln>
                <a:solidFill>
                  <a:srgbClr val="212129"/>
                </a:solidFill>
                <a:effectLst/>
                <a:uLnTx/>
                <a:uFillTx/>
                <a:latin typeface="AP Type Text"/>
                <a:ea typeface="+mn-ea"/>
                <a:cs typeface="+mn-cs"/>
              </a:rPr>
              <a:t>Builders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94C0B6E-1D88-8C70-15DA-89F2133D4D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316B6A-336A-44FF-82DA-A4D1594FA055}" type="slidenum">
              <a:rPr kumimoji="0" lang="en-AU" sz="900" b="1" i="0" u="none" strike="noStrike" kern="1200" cap="none" spc="-20" normalizeH="0" baseline="0" noProof="0" smtClean="0">
                <a:ln>
                  <a:noFill/>
                </a:ln>
                <a:solidFill>
                  <a:srgbClr val="DC1928"/>
                </a:solidFill>
                <a:effectLst/>
                <a:uLnTx/>
                <a:uFillTx/>
                <a:latin typeface="AP Type Tex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AU" sz="900" b="1" i="0" u="none" strike="noStrike" kern="1200" cap="none" spc="-20" normalizeH="0" baseline="0" noProof="0">
              <a:ln>
                <a:noFill/>
              </a:ln>
              <a:solidFill>
                <a:srgbClr val="DC1928"/>
              </a:solidFill>
              <a:effectLst/>
              <a:uLnTx/>
              <a:uFillTx/>
              <a:latin typeface="AP Type Text"/>
              <a:ea typeface="+mn-ea"/>
              <a:cs typeface="+mn-cs"/>
            </a:endParaRPr>
          </a:p>
        </p:txBody>
      </p:sp>
      <p:sp>
        <p:nvSpPr>
          <p:cNvPr id="4" name="Text Placeholder 116">
            <a:extLst>
              <a:ext uri="{FF2B5EF4-FFF2-40B4-BE49-F238E27FC236}">
                <a16:creationId xmlns:a16="http://schemas.microsoft.com/office/drawing/2014/main" id="{A674FA57-C1FC-6A89-3A1A-750C55F8EB02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5074418" y="6326981"/>
            <a:ext cx="6781581" cy="280988"/>
          </a:xfrm>
        </p:spPr>
        <p:txBody>
          <a:bodyPr/>
          <a:lstStyle/>
          <a:p>
            <a:r>
              <a:rPr lang="en-AU"/>
              <a:t>1. Australia Post Omnibus Consumer survey Jul’24 (n=1997); 2. Australia Post Omnibus Consumer survey Nov’24 (n=1997)</a:t>
            </a:r>
          </a:p>
        </p:txBody>
      </p:sp>
      <p:sp>
        <p:nvSpPr>
          <p:cNvPr id="13" name="Footer Placeholder 8">
            <a:extLst>
              <a:ext uri="{FF2B5EF4-FFF2-40B4-BE49-F238E27FC236}">
                <a16:creationId xmlns:a16="http://schemas.microsoft.com/office/drawing/2014/main" id="{BC5C8727-9DF7-E1BA-6A0A-102D0B6850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5550" y="6419850"/>
            <a:ext cx="2199737" cy="23812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i="0" u="none" strike="noStrike" kern="1200" cap="none" spc="-20" normalizeH="0" baseline="0" noProof="0">
                <a:ln>
                  <a:noFill/>
                </a:ln>
                <a:solidFill>
                  <a:srgbClr val="212129"/>
                </a:solidFill>
                <a:effectLst/>
                <a:uLnTx/>
                <a:uFillTx/>
                <a:latin typeface="AP Type Text"/>
                <a:ea typeface="+mn-ea"/>
                <a:cs typeface="+mn-cs"/>
              </a:rPr>
              <a:t>© 2025 Australia Post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AFC3A1A-D1CE-75F8-6C4B-342FA2E4CB4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2" t="5972" r="28680" b="-91"/>
          <a:stretch/>
        </p:blipFill>
        <p:spPr>
          <a:xfrm>
            <a:off x="3454856" y="4151802"/>
            <a:ext cx="2513867" cy="1863846"/>
          </a:xfrm>
          <a:prstGeom prst="roundRect">
            <a:avLst>
              <a:gd name="adj" fmla="val 5602"/>
            </a:avLst>
          </a:prstGeom>
        </p:spPr>
      </p:pic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685FE6CF-771B-76E0-6AFA-924C7D17C98C}"/>
              </a:ext>
            </a:extLst>
          </p:cNvPr>
          <p:cNvSpPr txBox="1">
            <a:spLocks/>
          </p:cNvSpPr>
          <p:nvPr/>
        </p:nvSpPr>
        <p:spPr>
          <a:xfrm>
            <a:off x="3649805" y="4599554"/>
            <a:ext cx="2056043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b="0" kern="1200" spc="-1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144000" indent="-144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50" b="0" kern="1200" spc="-1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342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050" kern="1200" spc="-1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48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◦"/>
              <a:defRPr lang="en-US" sz="1050" kern="1200" spc="-10" baseline="0" dirty="0" smtClean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630000" indent="-144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›"/>
              <a:defRPr sz="1050" kern="1200" spc="-1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AP Type Text" panose="020B0503030202060203" pitchFamily="34" charset="0"/>
                <a:ea typeface="Roboto" panose="02000000000000000000" pitchFamily="2" charset="0"/>
                <a:cs typeface="+mn-cs"/>
              </a:defRPr>
            </a:lvl6pPr>
            <a:lvl7pPr marL="3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eriod"/>
              <a:defRPr sz="1400" kern="1200">
                <a:solidFill>
                  <a:schemeClr val="tx1"/>
                </a:solidFill>
                <a:latin typeface="AP Type Text" panose="020B0503030202060203" pitchFamily="34" charset="0"/>
                <a:ea typeface="Roboto" panose="02000000000000000000" pitchFamily="2" charset="0"/>
                <a:cs typeface="+mn-cs"/>
              </a:defRPr>
            </a:lvl7pPr>
            <a:lvl8pPr marL="5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romanLcPeriod"/>
              <a:defRPr sz="1400" kern="1200">
                <a:solidFill>
                  <a:schemeClr val="tx1"/>
                </a:solidFill>
                <a:latin typeface="AP Type Text" panose="020B0503030202060203" pitchFamily="34" charset="0"/>
                <a:ea typeface="Roboto" panose="02000000000000000000" pitchFamily="2" charset="0"/>
                <a:cs typeface="+mn-cs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1600" b="1" kern="1200">
                <a:solidFill>
                  <a:srgbClr val="DC1928"/>
                </a:solidFill>
                <a:latin typeface="AP Type Text" panose="020B0503030202060203" pitchFamily="34" charset="0"/>
                <a:ea typeface="Roboto" panose="02000000000000000000" pitchFamily="2" charset="0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AU" sz="2800" b="1" i="0" u="none" strike="noStrike" kern="100" cap="none" spc="-1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 Type Text" panose="020B0503030202060203" pitchFamily="34" charset="0"/>
                <a:ea typeface="Roboto" panose="02000000000000000000" pitchFamily="2" charset="0"/>
                <a:cs typeface="Times New Roman" panose="02020603050405020304" pitchFamily="18" charset="0"/>
              </a:rPr>
              <a:t>Only </a:t>
            </a:r>
            <a:r>
              <a:rPr kumimoji="0" lang="en-AU" sz="4400" b="1" i="0" u="none" strike="noStrike" kern="100" cap="none" spc="-1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 Type Text" panose="020B0503030202060203" pitchFamily="34" charset="0"/>
                <a:ea typeface="Roboto" panose="02000000000000000000" pitchFamily="2" charset="0"/>
                <a:cs typeface="Times New Roman" panose="02020603050405020304" pitchFamily="18" charset="0"/>
              </a:rPr>
              <a:t>7%</a:t>
            </a:r>
            <a:r>
              <a:rPr kumimoji="0" lang="en-AU" sz="4000" b="1" i="0" u="none" strike="noStrike" kern="100" cap="none" spc="-1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 Type Text" panose="020B0503030202060203" pitchFamily="34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DF7B21C-1F91-8939-14FD-FD7420DABCEB}"/>
              </a:ext>
            </a:extLst>
          </p:cNvPr>
          <p:cNvSpPr txBox="1">
            <a:spLocks/>
          </p:cNvSpPr>
          <p:nvPr/>
        </p:nvSpPr>
        <p:spPr>
          <a:xfrm>
            <a:off x="3649805" y="5228706"/>
            <a:ext cx="2056043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b="0" kern="1200" spc="-1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144000" indent="-144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50" b="0" kern="1200" spc="-1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342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050" kern="1200" spc="-1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48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◦"/>
              <a:defRPr lang="en-US" sz="1050" kern="1200" spc="-10" baseline="0" dirty="0" smtClean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630000" indent="-144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›"/>
              <a:defRPr sz="1050" kern="1200" spc="-1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AP Type Text" panose="020B0503030202060203" pitchFamily="34" charset="0"/>
                <a:ea typeface="Roboto" panose="02000000000000000000" pitchFamily="2" charset="0"/>
                <a:cs typeface="+mn-cs"/>
              </a:defRPr>
            </a:lvl6pPr>
            <a:lvl7pPr marL="3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LcPeriod"/>
              <a:defRPr sz="1400" kern="1200">
                <a:solidFill>
                  <a:schemeClr val="tx1"/>
                </a:solidFill>
                <a:latin typeface="AP Type Text" panose="020B0503030202060203" pitchFamily="34" charset="0"/>
                <a:ea typeface="Roboto" panose="02000000000000000000" pitchFamily="2" charset="0"/>
                <a:cs typeface="+mn-cs"/>
              </a:defRPr>
            </a:lvl7pPr>
            <a:lvl8pPr marL="5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romanLcPeriod"/>
              <a:defRPr sz="1400" kern="1200">
                <a:solidFill>
                  <a:schemeClr val="tx1"/>
                </a:solidFill>
                <a:latin typeface="AP Type Text" panose="020B0503030202060203" pitchFamily="34" charset="0"/>
                <a:ea typeface="Roboto" panose="02000000000000000000" pitchFamily="2" charset="0"/>
                <a:cs typeface="+mn-cs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1600" b="1" kern="1200">
                <a:solidFill>
                  <a:srgbClr val="DC1928"/>
                </a:solidFill>
                <a:latin typeface="AP Type Text" panose="020B0503030202060203" pitchFamily="34" charset="0"/>
                <a:ea typeface="Roboto" panose="02000000000000000000" pitchFamily="2" charset="0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AU" sz="1200" b="0" i="0" u="none" strike="noStrike" kern="100" cap="none" spc="-1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 Type Text" panose="020B0503030202060203" pitchFamily="34" charset="0"/>
                <a:ea typeface="Roboto" panose="02000000000000000000" pitchFamily="2" charset="0"/>
                <a:cs typeface="Times New Roman" panose="02020603050405020304" pitchFamily="18" charset="0"/>
              </a:rPr>
              <a:t>of shoppers considered sustainability in their purchase decisions</a:t>
            </a:r>
            <a:r>
              <a:rPr kumimoji="0" lang="en-AU" sz="1200" b="0" i="0" u="none" strike="noStrike" kern="1200" cap="none" spc="-1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 Type Text"/>
                <a:ea typeface="Roboto" panose="02000000000000000000" pitchFamily="2" charset="0"/>
                <a:cs typeface="+mn-cs"/>
              </a:rPr>
              <a:t>1</a:t>
            </a:r>
            <a:endParaRPr kumimoji="0" lang="en-AU" sz="1200" b="0" i="0" u="none" strike="noStrike" kern="100" cap="none" spc="-1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 Type Text" panose="020B0503030202060203" pitchFamily="34" charset="0"/>
              <a:ea typeface="Roboto" panose="02000000000000000000" pitchFamily="2" charset="0"/>
              <a:cs typeface="Times New Roman" panose="02020603050405020304" pitchFamily="18" charset="0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765C8606-416B-DF9F-15F0-41BA242C6D4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2000" y="1521995"/>
            <a:ext cx="3103434" cy="4748218"/>
          </a:xfrm>
          <a:prstGeom prst="rect">
            <a:avLst/>
          </a:prstGeom>
        </p:spPr>
      </p:pic>
      <p:sp>
        <p:nvSpPr>
          <p:cNvPr id="7" name="Title 11">
            <a:extLst>
              <a:ext uri="{FF2B5EF4-FFF2-40B4-BE49-F238E27FC236}">
                <a16:creationId xmlns:a16="http://schemas.microsoft.com/office/drawing/2014/main" id="{2697BDDC-6100-042D-ABDA-D7C912373ECB}"/>
              </a:ext>
            </a:extLst>
          </p:cNvPr>
          <p:cNvSpPr txBox="1">
            <a:spLocks/>
          </p:cNvSpPr>
          <p:nvPr/>
        </p:nvSpPr>
        <p:spPr>
          <a:xfrm>
            <a:off x="336000" y="269081"/>
            <a:ext cx="9993705" cy="7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spc="-100" baseline="0">
                <a:gradFill flip="none" rotWithShape="1">
                  <a:gsLst>
                    <a:gs pos="0">
                      <a:schemeClr val="accent2"/>
                    </a:gs>
                    <a:gs pos="7500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3200">
                <a:gradFill flip="none">
                  <a:gsLst>
                    <a:gs pos="0">
                      <a:srgbClr val="DC1928"/>
                    </a:gs>
                    <a:gs pos="75000">
                      <a:srgbClr val="DC1928"/>
                    </a:gs>
                    <a:gs pos="100000">
                      <a:srgbClr val="F51482"/>
                    </a:gs>
                  </a:gsLst>
                  <a:lin ang="0" scaled="1"/>
                  <a:tileRect/>
                </a:gradFill>
                <a:latin typeface="AP Type Text"/>
              </a:rPr>
              <a:t>Gen Z &amp; Millennials leading </a:t>
            </a:r>
            <a:r>
              <a:rPr kumimoji="0" lang="en-AU" sz="3200" b="1" i="0" u="none" strike="noStrike" kern="1200" cap="none" spc="-100" normalizeH="0" baseline="0" noProof="0">
                <a:ln>
                  <a:noFill/>
                </a:ln>
                <a:gradFill flip="none">
                  <a:gsLst>
                    <a:gs pos="0">
                      <a:srgbClr val="DC1928"/>
                    </a:gs>
                    <a:gs pos="75000">
                      <a:srgbClr val="DC1928"/>
                    </a:gs>
                    <a:gs pos="100000">
                      <a:srgbClr val="F51482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AP Type Text"/>
                <a:ea typeface="+mj-ea"/>
                <a:cs typeface="+mj-cs"/>
              </a:rPr>
              <a:t>Recommerce</a:t>
            </a:r>
          </a:p>
        </p:txBody>
      </p:sp>
    </p:spTree>
    <p:extLst>
      <p:ext uri="{BB962C8B-B14F-4D97-AF65-F5344CB8AC3E}">
        <p14:creationId xmlns:p14="http://schemas.microsoft.com/office/powerpoint/2010/main" val="228783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Layouts">
  <a:themeElements>
    <a:clrScheme name="AP">
      <a:dk1>
        <a:srgbClr val="212129"/>
      </a:dk1>
      <a:lt1>
        <a:sysClr val="window" lastClr="FFFFFF"/>
      </a:lt1>
      <a:dk2>
        <a:srgbClr val="F6C5C9"/>
      </a:dk2>
      <a:lt2>
        <a:srgbClr val="D3D3D5"/>
      </a:lt2>
      <a:accent1>
        <a:srgbClr val="952425"/>
      </a:accent1>
      <a:accent2>
        <a:srgbClr val="DC1928"/>
      </a:accent2>
      <a:accent3>
        <a:srgbClr val="F51482"/>
      </a:accent3>
      <a:accent4>
        <a:srgbClr val="882D52"/>
      </a:accent4>
      <a:accent5>
        <a:srgbClr val="590D2B"/>
      </a:accent5>
      <a:accent6>
        <a:srgbClr val="ED8C93"/>
      </a:accent6>
      <a:hlink>
        <a:srgbClr val="212129"/>
      </a:hlink>
      <a:folHlink>
        <a:srgbClr val="212129"/>
      </a:folHlink>
    </a:clrScheme>
    <a:fontScheme name="AP Type Text">
      <a:majorFont>
        <a:latin typeface="AP Type Text"/>
        <a:ea typeface=""/>
        <a:cs typeface=""/>
      </a:majorFont>
      <a:minorFont>
        <a:latin typeface="AP Typ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wrap="square" lIns="0" tIns="0" rIns="0" bIns="0" rtlCol="0" anchor="t" anchorCtr="0">
        <a:spAutoFit/>
      </a:bodyPr>
      <a:lstStyle>
        <a:defPPr marL="0" marR="0" indent="0" algn="l" defTabSz="685800" rtl="0" eaLnBrk="1" fontAlgn="auto" latinLnBrk="0" hangingPunct="1">
          <a:lnSpc>
            <a:spcPct val="100000"/>
          </a:lnSpc>
          <a:spcBef>
            <a:spcPts val="0"/>
          </a:spcBef>
          <a:spcAft>
            <a:spcPts val="600"/>
          </a:spcAft>
          <a:buClrTx/>
          <a:buSzTx/>
          <a:buFontTx/>
          <a:buNone/>
          <a:tabLst/>
          <a:defRPr kumimoji="0" sz="1200" b="1" i="0" u="none" strike="noStrike" kern="1200" cap="none" spc="0" normalizeH="0" baseline="0" noProof="0" dirty="0">
            <a:ln>
              <a:noFill/>
            </a:ln>
            <a:solidFill>
              <a:prstClr val="white"/>
            </a:solidFill>
            <a:effectLst/>
            <a:uLnTx/>
            <a:uFillTx/>
            <a:latin typeface="AP Type Text"/>
            <a:ea typeface="+mn-ea"/>
            <a:cs typeface="+mn-cs"/>
          </a:defRPr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25400" cap="rnd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200" spc="-5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PO0642_PPT_Template.potx" id="{3BA01457-3FA2-4AC5-84D3-648D17E1340B}" vid="{BFB402C0-666F-4054-A086-7E77933FB7B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Custom 12">
    <a:dk1>
      <a:srgbClr val="000000"/>
    </a:dk1>
    <a:lt1>
      <a:srgbClr val="FFFFFF"/>
    </a:lt1>
    <a:dk2>
      <a:srgbClr val="590D2B"/>
    </a:dk2>
    <a:lt2>
      <a:srgbClr val="E8E8E9"/>
    </a:lt2>
    <a:accent1>
      <a:srgbClr val="DC1928"/>
    </a:accent1>
    <a:accent2>
      <a:srgbClr val="ED792F"/>
    </a:accent2>
    <a:accent3>
      <a:srgbClr val="892D52"/>
    </a:accent3>
    <a:accent4>
      <a:srgbClr val="3FA9D2"/>
    </a:accent4>
    <a:accent5>
      <a:srgbClr val="2B559E"/>
    </a:accent5>
    <a:accent6>
      <a:srgbClr val="1ABD57"/>
    </a:accent6>
    <a:hlink>
      <a:srgbClr val="3FA9D2"/>
    </a:hlink>
    <a:folHlink>
      <a:srgbClr val="3FA9D2"/>
    </a:folHlink>
  </a:clrScheme>
  <a:fontScheme name="AP Type Text PPT">
    <a:majorFont>
      <a:latin typeface="AP Type Text Bold"/>
      <a:ea typeface=""/>
      <a:cs typeface=""/>
    </a:majorFont>
    <a:minorFont>
      <a:latin typeface="AP Type Text"/>
      <a:ea typeface=""/>
      <a:cs typeface=""/>
    </a:minorFont>
  </a:fontScheme>
  <a:fmtScheme name="PwC Effects">
    <a:fillStyleLst>
      <a:solidFill>
        <a:schemeClr val="phClr"/>
      </a:solidFill>
      <a:solidFill>
        <a:schemeClr val="phClr"/>
      </a:solidFill>
      <a:solidFill>
        <a:schemeClr val="phClr"/>
      </a:solidFill>
    </a:fillStyleLst>
    <a:lnStyleLst>
      <a:ln w="12700" cap="sq" cmpd="sng" algn="ctr">
        <a:solidFill>
          <a:schemeClr val="phClr"/>
        </a:solidFill>
        <a:prstDash val="solid"/>
      </a:ln>
      <a:ln w="12700" cap="sq" cmpd="sng" algn="ctr">
        <a:solidFill>
          <a:schemeClr val="phClr"/>
        </a:solidFill>
        <a:prstDash val="solid"/>
      </a:ln>
      <a:ln w="12700" cap="sq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127000" dist="63500" dir="2700000" algn="br" rotWithShape="0">
            <a:srgbClr val="000000">
              <a:alpha val="25000"/>
            </a:srgbClr>
          </a:outerShdw>
        </a:effectLst>
      </a:effectStyle>
    </a:effectStyleLst>
    <a:bgFillStyleLst>
      <a:solidFill>
        <a:schemeClr val="phClr"/>
      </a:solidFill>
      <a:solidFill>
        <a:schemeClr val="phClr"/>
      </a:solidFill>
      <a:solidFill>
        <a:schemeClr val="phClr"/>
      </a:solidFill>
    </a:bgFillStyleLst>
  </a:fmtScheme>
</a:themeOverrid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07D3E7B2-E151-431C-B75E-10988EB1BC92}">
  <we:reference id="a761e866-31f6-4676-9a6c-095a3a900831" version="1.0.0.8" store="EXCatalog" storeType="EXCatalog"/>
  <we:alternateReferences>
    <we:reference id="WA200001625" version="1.0.0.8" store="en-AU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3892ebb-e7bc-4985-b3d8-95d976dc2d9c">
      <Terms xmlns="http://schemas.microsoft.com/office/infopath/2007/PartnerControls"/>
    </lcf76f155ced4ddcb4097134ff3c332f>
    <TaxCatchAll xmlns="803ac6f0-f951-4b3c-be50-71ba43cc38f2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AB09B5B2D662E40906296773BDE73C2" ma:contentTypeVersion="16" ma:contentTypeDescription="Create a new document." ma:contentTypeScope="" ma:versionID="aea964e62ae1f446a3cd63360c6c1eaf">
  <xsd:schema xmlns:xsd="http://www.w3.org/2001/XMLSchema" xmlns:xs="http://www.w3.org/2001/XMLSchema" xmlns:p="http://schemas.microsoft.com/office/2006/metadata/properties" xmlns:ns2="03892ebb-e7bc-4985-b3d8-95d976dc2d9c" xmlns:ns3="803ac6f0-f951-4b3c-be50-71ba43cc38f2" targetNamespace="http://schemas.microsoft.com/office/2006/metadata/properties" ma:root="true" ma:fieldsID="6a0132dc7396b97c96e89de3008cc486" ns2:_="" ns3:_="">
    <xsd:import namespace="03892ebb-e7bc-4985-b3d8-95d976dc2d9c"/>
    <xsd:import namespace="803ac6f0-f951-4b3c-be50-71ba43cc38f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892ebb-e7bc-4985-b3d8-95d976dc2d9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f2b88b8a-5d64-4c7d-858c-cca11ad9ce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17" nillable="true" ma:displayName="Location" ma:indexed="true" ma:internalName="MediaServiceLocatio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3ac6f0-f951-4b3c-be50-71ba43cc38f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dbf351de-1806-48d0-953f-3d3d0b7eeb05}" ma:internalName="TaxCatchAll" ma:showField="CatchAllData" ma:web="803ac6f0-f951-4b3c-be50-71ba43cc38f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D76B361-4171-409B-9488-2850322188B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38BC4E3-3C07-4239-A721-A132CBC7B679}">
  <ds:schemaRefs>
    <ds:schemaRef ds:uri="03892ebb-e7bc-4985-b3d8-95d976dc2d9c"/>
    <ds:schemaRef ds:uri="803ac6f0-f951-4b3c-be50-71ba43cc38f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F45A4D9-BC9F-4BDA-9AE9-C75F1CC1D065}">
  <ds:schemaRefs>
    <ds:schemaRef ds:uri="03892ebb-e7bc-4985-b3d8-95d976dc2d9c"/>
    <ds:schemaRef ds:uri="803ac6f0-f951-4b3c-be50-71ba43cc38f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3</Slides>
  <Notes>5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Slide Layouts</vt:lpstr>
      <vt:lpstr>Aussie Underdogs and Global Goliaths: Competing in eCommerce</vt:lpstr>
      <vt:lpstr>How eCommerce performed in 2024 </vt:lpstr>
      <vt:lpstr>PowerPoint Presentation</vt:lpstr>
      <vt:lpstr>PowerPoint Presentation</vt:lpstr>
      <vt:lpstr>ex-China and Amazon could account for more than 50% of all parcels moved across Australia within six years</vt:lpstr>
      <vt:lpstr>PowerPoint Presentation</vt:lpstr>
      <vt:lpstr>The winning edge</vt:lpstr>
      <vt:lpstr>Recommerce has become a large focus across retail to increase profitability and improve sustainability</vt:lpstr>
      <vt:lpstr>PowerPoint Presentation</vt:lpstr>
      <vt:lpstr>PowerPoint Presentation</vt:lpstr>
      <vt:lpstr>PowerPoint Presentation</vt:lpstr>
      <vt:lpstr>PowerPoint Presentation</vt:lpstr>
      <vt:lpstr>Thank You </vt:lpstr>
    </vt:vector>
  </TitlesOfParts>
  <Company>Australia Pos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ITTER, Leshea</dc:creator>
  <cp:revision>2</cp:revision>
  <dcterms:created xsi:type="dcterms:W3CDTF">2025-02-28T00:50:49Z</dcterms:created>
  <dcterms:modified xsi:type="dcterms:W3CDTF">2025-04-09T08:49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AB09B5B2D662E40906296773BDE73C2</vt:lpwstr>
  </property>
  <property fmtid="{D5CDD505-2E9C-101B-9397-08002B2CF9AE}" pid="3" name="MediaServiceImageTags">
    <vt:lpwstr/>
  </property>
  <property fmtid="{D5CDD505-2E9C-101B-9397-08002B2CF9AE}" pid="4" name="Business_x0020_Unt">
    <vt:lpwstr>624;#Enterprise Brand ＆ Retail Marketing|48a2bbcf-72e7-4793-a92e-d5f4df74fcce</vt:lpwstr>
  </property>
  <property fmtid="{D5CDD505-2E9C-101B-9397-08002B2CF9AE}" pid="5" name="Business Unit">
    <vt:lpwstr>625;#Retail, Brand ＆ Marketing|667049f9-7f33-4ef1-8306-3a9ffa3648d7</vt:lpwstr>
  </property>
  <property fmtid="{D5CDD505-2E9C-101B-9397-08002B2CF9AE}" pid="6" name="Team">
    <vt:lpwstr>629;#Digital Content ＆ Social Media|b943debe-b2bf-4371-bcb5-9fb38e980352</vt:lpwstr>
  </property>
  <property fmtid="{D5CDD505-2E9C-101B-9397-08002B2CF9AE}" pid="7" name="Business_x0020_Unit">
    <vt:lpwstr>625;#Retail, Brand ＆ Marketing|667049f9-7f33-4ef1-8306-3a9ffa3648d7</vt:lpwstr>
  </property>
  <property fmtid="{D5CDD505-2E9C-101B-9397-08002B2CF9AE}" pid="8" name="Classification">
    <vt:lpwstr>635;#Australia Post Group Internal Use Only|c0b4d801-082e-4f19-9d3b-41f6c1bd6f80</vt:lpwstr>
  </property>
  <property fmtid="{D5CDD505-2E9C-101B-9397-08002B2CF9AE}" pid="9" name="Business Unt">
    <vt:lpwstr>624;#Enterprise Brand ＆ Retail Marketing|48a2bbcf-72e7-4793-a92e-d5f4df74fcce</vt:lpwstr>
  </property>
</Properties>
</file>